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8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9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0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21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22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2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24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25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26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ags/tag12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notesSlides/notesSlide29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notesSlides/notesSlide30.xml" ContentType="application/vnd.openxmlformats-officedocument.presentationml.notesSlide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31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notesSlides/notesSlide32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3.xml" ContentType="application/vnd.openxmlformats-officedocument.presentationml.tags+xml"/>
  <Override PartName="/ppt/notesSlides/notesSlide35.xml" ContentType="application/vnd.openxmlformats-officedocument.presentationml.notesSlide+xml"/>
  <Override PartName="/ppt/tags/tag14.xml" ContentType="application/vnd.openxmlformats-officedocument.presentationml.tags+xml"/>
  <Override PartName="/ppt/notesSlides/notesSlide36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tags/tag15.xml" ContentType="application/vnd.openxmlformats-officedocument.presentationml.tags+xml"/>
  <Override PartName="/ppt/notesSlides/notesSlide37.xml" ContentType="application/vnd.openxmlformats-officedocument.presentationml.notesSlide+xml"/>
  <Override PartName="/ppt/tags/tag16.xml" ContentType="application/vnd.openxmlformats-officedocument.presentationml.tags+xml"/>
  <Override PartName="/ppt/notesSlides/notesSlide38.xml" ContentType="application/vnd.openxmlformats-officedocument.presentationml.notesSlide+xml"/>
  <Override PartName="/ppt/tags/tag17.xml" ContentType="application/vnd.openxmlformats-officedocument.presentationml.tags+xml"/>
  <Override PartName="/ppt/notesSlides/notesSlide3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59"/>
  </p:notesMasterIdLst>
  <p:sldIdLst>
    <p:sldId id="256" r:id="rId3"/>
    <p:sldId id="276" r:id="rId4"/>
    <p:sldId id="793" r:id="rId5"/>
    <p:sldId id="779" r:id="rId6"/>
    <p:sldId id="826" r:id="rId7"/>
    <p:sldId id="831" r:id="rId8"/>
    <p:sldId id="830" r:id="rId9"/>
    <p:sldId id="829" r:id="rId10"/>
    <p:sldId id="827" r:id="rId11"/>
    <p:sldId id="828" r:id="rId12"/>
    <p:sldId id="677" r:id="rId13"/>
    <p:sldId id="672" r:id="rId14"/>
    <p:sldId id="802" r:id="rId15"/>
    <p:sldId id="803" r:id="rId16"/>
    <p:sldId id="804" r:id="rId17"/>
    <p:sldId id="805" r:id="rId18"/>
    <p:sldId id="841" r:id="rId19"/>
    <p:sldId id="840" r:id="rId20"/>
    <p:sldId id="801" r:id="rId21"/>
    <p:sldId id="820" r:id="rId22"/>
    <p:sldId id="825" r:id="rId23"/>
    <p:sldId id="795" r:id="rId24"/>
    <p:sldId id="796" r:id="rId25"/>
    <p:sldId id="797" r:id="rId26"/>
    <p:sldId id="798" r:id="rId27"/>
    <p:sldId id="799" r:id="rId28"/>
    <p:sldId id="800" r:id="rId29"/>
    <p:sldId id="806" r:id="rId30"/>
    <p:sldId id="807" r:id="rId31"/>
    <p:sldId id="808" r:id="rId32"/>
    <p:sldId id="809" r:id="rId33"/>
    <p:sldId id="696" r:id="rId34"/>
    <p:sldId id="810" r:id="rId35"/>
    <p:sldId id="811" r:id="rId36"/>
    <p:sldId id="812" r:id="rId37"/>
    <p:sldId id="814" r:id="rId38"/>
    <p:sldId id="821" r:id="rId39"/>
    <p:sldId id="822" r:id="rId40"/>
    <p:sldId id="823" r:id="rId41"/>
    <p:sldId id="824" r:id="rId42"/>
    <p:sldId id="833" r:id="rId43"/>
    <p:sldId id="834" r:id="rId44"/>
    <p:sldId id="835" r:id="rId45"/>
    <p:sldId id="837" r:id="rId46"/>
    <p:sldId id="813" r:id="rId47"/>
    <p:sldId id="838" r:id="rId48"/>
    <p:sldId id="791" r:id="rId49"/>
    <p:sldId id="816" r:id="rId50"/>
    <p:sldId id="843" r:id="rId51"/>
    <p:sldId id="815" r:id="rId52"/>
    <p:sldId id="817" r:id="rId53"/>
    <p:sldId id="818" r:id="rId54"/>
    <p:sldId id="819" r:id="rId55"/>
    <p:sldId id="842" r:id="rId56"/>
    <p:sldId id="844" r:id="rId57"/>
    <p:sldId id="839" r:id="rId5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gidadmin" initials="c" lastIdx="1" clrIdx="0">
    <p:extLst>
      <p:ext uri="{19B8F6BF-5375-455C-9EA6-DF929625EA0E}">
        <p15:presenceInfo xmlns:p15="http://schemas.microsoft.com/office/powerpoint/2012/main" userId="cegidadmin" providerId="None"/>
      </p:ext>
    </p:extLst>
  </p:cmAuthor>
  <p:cmAuthor id="2" name="christophe CHUECOS-FONT" initials="cCF" lastIdx="1" clrIdx="1">
    <p:extLst>
      <p:ext uri="{19B8F6BF-5375-455C-9EA6-DF929625EA0E}">
        <p15:presenceInfo xmlns:p15="http://schemas.microsoft.com/office/powerpoint/2012/main" userId="christophe CHUECOS-FON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A2B171-D546-4C5A-BD3B-6720C76DF600}" v="1915" dt="2021-03-05T14:05:48.7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241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4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microsoft.com/office/2015/10/relationships/revisionInfo" Target="revisionInfo.xml"/><Relationship Id="rId5" Type="http://schemas.openxmlformats.org/officeDocument/2006/relationships/slide" Target="slides/slide3.xml"/><Relationship Id="rId61" Type="http://schemas.openxmlformats.org/officeDocument/2006/relationships/presProps" Target="presProp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commentAuthors" Target="commentAuthors.xml"/><Relationship Id="rId65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 CHUECOS-FONT" userId="7e57acaa-4bc6-4644-8edc-0ecdded28594" providerId="ADAL" clId="{E0E3BE12-C07A-444A-8793-83B43DDD5D85}"/>
    <pc:docChg chg="undo custSel addSld delSld modSld sldOrd">
      <pc:chgData name="christophe CHUECOS-FONT" userId="7e57acaa-4bc6-4644-8edc-0ecdded28594" providerId="ADAL" clId="{E0E3BE12-C07A-444A-8793-83B43DDD5D85}" dt="2021-02-26T13:17:51.751" v="3388" actId="20577"/>
      <pc:docMkLst>
        <pc:docMk/>
      </pc:docMkLst>
      <pc:sldChg chg="modSp mod">
        <pc:chgData name="christophe CHUECOS-FONT" userId="7e57acaa-4bc6-4644-8edc-0ecdded28594" providerId="ADAL" clId="{E0E3BE12-C07A-444A-8793-83B43DDD5D85}" dt="2021-02-23T16:50:03.002" v="43" actId="20577"/>
        <pc:sldMkLst>
          <pc:docMk/>
          <pc:sldMk cId="3848639155" sldId="256"/>
        </pc:sldMkLst>
        <pc:spChg chg="mod">
          <ac:chgData name="christophe CHUECOS-FONT" userId="7e57acaa-4bc6-4644-8edc-0ecdded28594" providerId="ADAL" clId="{E0E3BE12-C07A-444A-8793-83B43DDD5D85}" dt="2021-02-23T16:50:03.002" v="43" actId="20577"/>
          <ac:spMkLst>
            <pc:docMk/>
            <pc:sldMk cId="3848639155" sldId="256"/>
            <ac:spMk id="3" creationId="{21349F9F-31B4-41DC-B4DB-C097467B5266}"/>
          </ac:spMkLst>
        </pc:spChg>
      </pc:sldChg>
      <pc:sldChg chg="del">
        <pc:chgData name="christophe CHUECOS-FONT" userId="7e57acaa-4bc6-4644-8edc-0ecdded28594" providerId="ADAL" clId="{E0E3BE12-C07A-444A-8793-83B43DDD5D85}" dt="2021-02-23T17:26:08.880" v="44" actId="47"/>
        <pc:sldMkLst>
          <pc:docMk/>
          <pc:sldMk cId="3714222650" sldId="259"/>
        </pc:sldMkLst>
      </pc:sldChg>
      <pc:sldChg chg="addSp delSp modSp mod">
        <pc:chgData name="christophe CHUECOS-FONT" userId="7e57acaa-4bc6-4644-8edc-0ecdded28594" providerId="ADAL" clId="{E0E3BE12-C07A-444A-8793-83B43DDD5D85}" dt="2021-02-26T07:31:56.336" v="963" actId="20577"/>
        <pc:sldMkLst>
          <pc:docMk/>
          <pc:sldMk cId="3509003486" sldId="263"/>
        </pc:sldMkLst>
        <pc:spChg chg="mod">
          <ac:chgData name="christophe CHUECOS-FONT" userId="7e57acaa-4bc6-4644-8edc-0ecdded28594" providerId="ADAL" clId="{E0E3BE12-C07A-444A-8793-83B43DDD5D85}" dt="2021-02-26T07:31:56.336" v="963" actId="20577"/>
          <ac:spMkLst>
            <pc:docMk/>
            <pc:sldMk cId="3509003486" sldId="263"/>
            <ac:spMk id="2" creationId="{02517F6E-26E9-44E8-815E-774552D95FD0}"/>
          </ac:spMkLst>
        </pc:spChg>
        <pc:spChg chg="del">
          <ac:chgData name="christophe CHUECOS-FONT" userId="7e57acaa-4bc6-4644-8edc-0ecdded28594" providerId="ADAL" clId="{E0E3BE12-C07A-444A-8793-83B43DDD5D85}" dt="2021-02-24T17:26:05.202" v="457" actId="26606"/>
          <ac:spMkLst>
            <pc:docMk/>
            <pc:sldMk cId="3509003486" sldId="263"/>
            <ac:spMk id="21" creationId="{4351DFE5-F63D-4BE0-BDA9-E3EB88F01AA5}"/>
          </ac:spMkLst>
        </pc:spChg>
        <pc:spChg chg="del">
          <ac:chgData name="christophe CHUECOS-FONT" userId="7e57acaa-4bc6-4644-8edc-0ecdded28594" providerId="ADAL" clId="{E0E3BE12-C07A-444A-8793-83B43DDD5D85}" dt="2021-02-24T17:26:05.202" v="457" actId="26606"/>
          <ac:spMkLst>
            <pc:docMk/>
            <pc:sldMk cId="3509003486" sldId="263"/>
            <ac:spMk id="23" creationId="{61BA051E-0D20-4CC3-9958-C0CFDE297C40}"/>
          </ac:spMkLst>
        </pc:spChg>
        <pc:spChg chg="add">
          <ac:chgData name="christophe CHUECOS-FONT" userId="7e57acaa-4bc6-4644-8edc-0ecdded28594" providerId="ADAL" clId="{E0E3BE12-C07A-444A-8793-83B43DDD5D85}" dt="2021-02-24T17:26:05.202" v="457" actId="26606"/>
          <ac:spMkLst>
            <pc:docMk/>
            <pc:sldMk cId="3509003486" sldId="263"/>
            <ac:spMk id="29" creationId="{1D63C574-BFD2-41A1-A567-B0C3CC7FDD4F}"/>
          </ac:spMkLst>
        </pc:spChg>
        <pc:spChg chg="add">
          <ac:chgData name="christophe CHUECOS-FONT" userId="7e57acaa-4bc6-4644-8edc-0ecdded28594" providerId="ADAL" clId="{E0E3BE12-C07A-444A-8793-83B43DDD5D85}" dt="2021-02-24T17:26:05.202" v="457" actId="26606"/>
          <ac:spMkLst>
            <pc:docMk/>
            <pc:sldMk cId="3509003486" sldId="263"/>
            <ac:spMk id="31" creationId="{E2A46BAB-8C31-42B2-90E8-B26DD3E81D37}"/>
          </ac:spMkLst>
        </pc:spChg>
        <pc:grpChg chg="add">
          <ac:chgData name="christophe CHUECOS-FONT" userId="7e57acaa-4bc6-4644-8edc-0ecdded28594" providerId="ADAL" clId="{E0E3BE12-C07A-444A-8793-83B43DDD5D85}" dt="2021-02-24T17:26:05.202" v="457" actId="26606"/>
          <ac:grpSpMkLst>
            <pc:docMk/>
            <pc:sldMk cId="3509003486" sldId="263"/>
            <ac:grpSpMk id="33" creationId="{B3F7A3C7-0737-4E57-B30E-8EEFE638B401}"/>
          </ac:grpSpMkLst>
        </pc:grpChg>
        <pc:grpChg chg="add">
          <ac:chgData name="christophe CHUECOS-FONT" userId="7e57acaa-4bc6-4644-8edc-0ecdded28594" providerId="ADAL" clId="{E0E3BE12-C07A-444A-8793-83B43DDD5D85}" dt="2021-02-24T17:26:05.202" v="457" actId="26606"/>
          <ac:grpSpMkLst>
            <pc:docMk/>
            <pc:sldMk cId="3509003486" sldId="263"/>
            <ac:grpSpMk id="37" creationId="{43F5E015-E085-4624-B431-B42414448684}"/>
          </ac:grpSpMkLst>
        </pc:grpChg>
        <pc:graphicFrameChg chg="add mod">
          <ac:chgData name="christophe CHUECOS-FONT" userId="7e57acaa-4bc6-4644-8edc-0ecdded28594" providerId="ADAL" clId="{E0E3BE12-C07A-444A-8793-83B43DDD5D85}" dt="2021-02-24T17:43:22.973" v="542" actId="20577"/>
          <ac:graphicFrameMkLst>
            <pc:docMk/>
            <pc:sldMk cId="3509003486" sldId="263"/>
            <ac:graphicFrameMk id="25" creationId="{11DA98FA-EC79-439B-A908-FC5C8F4402CC}"/>
          </ac:graphicFrameMkLst>
        </pc:graphicFrameChg>
        <pc:picChg chg="del">
          <ac:chgData name="christophe CHUECOS-FONT" userId="7e57acaa-4bc6-4644-8edc-0ecdded28594" providerId="ADAL" clId="{E0E3BE12-C07A-444A-8793-83B43DDD5D85}" dt="2021-02-24T17:26:05.202" v="457" actId="26606"/>
          <ac:picMkLst>
            <pc:docMk/>
            <pc:sldMk cId="3509003486" sldId="263"/>
            <ac:picMk id="22" creationId="{3AA16612-ACD2-4A16-8F2B-4514FD6BF28F}"/>
          </ac:picMkLst>
        </pc:picChg>
      </pc:sldChg>
      <pc:sldChg chg="modSp mod">
        <pc:chgData name="christophe CHUECOS-FONT" userId="7e57acaa-4bc6-4644-8edc-0ecdded28594" providerId="ADAL" clId="{E0E3BE12-C07A-444A-8793-83B43DDD5D85}" dt="2021-02-24T17:00:45.260" v="112" actId="20577"/>
        <pc:sldMkLst>
          <pc:docMk/>
          <pc:sldMk cId="251691404" sldId="276"/>
        </pc:sldMkLst>
        <pc:graphicFrameChg chg="modGraphic">
          <ac:chgData name="christophe CHUECOS-FONT" userId="7e57acaa-4bc6-4644-8edc-0ecdded28594" providerId="ADAL" clId="{E0E3BE12-C07A-444A-8793-83B43DDD5D85}" dt="2021-02-24T17:00:45.260" v="112" actId="2057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modSp mod ord">
        <pc:chgData name="christophe CHUECOS-FONT" userId="7e57acaa-4bc6-4644-8edc-0ecdded28594" providerId="ADAL" clId="{E0E3BE12-C07A-444A-8793-83B43DDD5D85}" dt="2021-02-24T17:57:02.972" v="907" actId="255"/>
        <pc:sldMkLst>
          <pc:docMk/>
          <pc:sldMk cId="3185261458" sldId="285"/>
        </pc:sldMkLst>
        <pc:spChg chg="mod">
          <ac:chgData name="christophe CHUECOS-FONT" userId="7e57acaa-4bc6-4644-8edc-0ecdded28594" providerId="ADAL" clId="{E0E3BE12-C07A-444A-8793-83B43DDD5D85}" dt="2021-02-24T17:55:57.725" v="803" actId="20577"/>
          <ac:spMkLst>
            <pc:docMk/>
            <pc:sldMk cId="3185261458" sldId="285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E0E3BE12-C07A-444A-8793-83B43DDD5D85}" dt="2021-02-24T17:57:02.972" v="907" actId="255"/>
          <ac:spMkLst>
            <pc:docMk/>
            <pc:sldMk cId="3185261458" sldId="285"/>
            <ac:spMk id="10" creationId="{2104DD9E-7F53-465D-8561-41BB61362ACA}"/>
          </ac:spMkLst>
        </pc:spChg>
      </pc:sldChg>
      <pc:sldChg chg="delSp modSp mod ord">
        <pc:chgData name="christophe CHUECOS-FONT" userId="7e57acaa-4bc6-4644-8edc-0ecdded28594" providerId="ADAL" clId="{E0E3BE12-C07A-444A-8793-83B43DDD5D85}" dt="2021-02-24T17:50:52.642" v="615" actId="27636"/>
        <pc:sldMkLst>
          <pc:docMk/>
          <pc:sldMk cId="329831576" sldId="286"/>
        </pc:sldMkLst>
        <pc:spChg chg="mod">
          <ac:chgData name="christophe CHUECOS-FONT" userId="7e57acaa-4bc6-4644-8edc-0ecdded28594" providerId="ADAL" clId="{E0E3BE12-C07A-444A-8793-83B43DDD5D85}" dt="2021-02-24T17:50:32.197" v="611" actId="14100"/>
          <ac:spMkLst>
            <pc:docMk/>
            <pc:sldMk cId="329831576" sldId="286"/>
            <ac:spMk id="2" creationId="{EF4842FF-7B87-4819-9D9E-8FAB225F796F}"/>
          </ac:spMkLst>
        </pc:spChg>
        <pc:spChg chg="mod">
          <ac:chgData name="christophe CHUECOS-FONT" userId="7e57acaa-4bc6-4644-8edc-0ecdded28594" providerId="ADAL" clId="{E0E3BE12-C07A-444A-8793-83B43DDD5D85}" dt="2021-02-24T17:50:52.642" v="615" actId="27636"/>
          <ac:spMkLst>
            <pc:docMk/>
            <pc:sldMk cId="329831576" sldId="286"/>
            <ac:spMk id="3" creationId="{AE031ED6-BBEB-4F69-BB03-35ED79344BB4}"/>
          </ac:spMkLst>
        </pc:spChg>
        <pc:graphicFrameChg chg="del">
          <ac:chgData name="christophe CHUECOS-FONT" userId="7e57acaa-4bc6-4644-8edc-0ecdded28594" providerId="ADAL" clId="{E0E3BE12-C07A-444A-8793-83B43DDD5D85}" dt="2021-02-24T17:48:44.039" v="590" actId="21"/>
          <ac:graphicFrameMkLst>
            <pc:docMk/>
            <pc:sldMk cId="329831576" sldId="286"/>
            <ac:graphicFrameMk id="4" creationId="{488D6A1A-BF89-4D2E-88D9-A81243FEE2E3}"/>
          </ac:graphicFrameMkLst>
        </pc:graphicFrameChg>
      </pc:sldChg>
      <pc:sldChg chg="del">
        <pc:chgData name="christophe CHUECOS-FONT" userId="7e57acaa-4bc6-4644-8edc-0ecdded28594" providerId="ADAL" clId="{E0E3BE12-C07A-444A-8793-83B43DDD5D85}" dt="2021-02-24T17:55:46.783" v="794" actId="47"/>
        <pc:sldMkLst>
          <pc:docMk/>
          <pc:sldMk cId="3774762694" sldId="378"/>
        </pc:sldMkLst>
      </pc:sldChg>
      <pc:sldChg chg="ord">
        <pc:chgData name="christophe CHUECOS-FONT" userId="7e57acaa-4bc6-4644-8edc-0ecdded28594" providerId="ADAL" clId="{E0E3BE12-C07A-444A-8793-83B43DDD5D85}" dt="2021-02-24T17:54:57.107" v="777"/>
        <pc:sldMkLst>
          <pc:docMk/>
          <pc:sldMk cId="966349221" sldId="667"/>
        </pc:sldMkLst>
      </pc:sldChg>
      <pc:sldChg chg="modSp mod ord">
        <pc:chgData name="christophe CHUECOS-FONT" userId="7e57acaa-4bc6-4644-8edc-0ecdded28594" providerId="ADAL" clId="{E0E3BE12-C07A-444A-8793-83B43DDD5D85}" dt="2021-02-24T17:19:48.577" v="317"/>
        <pc:sldMkLst>
          <pc:docMk/>
          <pc:sldMk cId="649958680" sldId="672"/>
        </pc:sldMkLst>
        <pc:spChg chg="mod">
          <ac:chgData name="christophe CHUECOS-FONT" userId="7e57acaa-4bc6-4644-8edc-0ecdded28594" providerId="ADAL" clId="{E0E3BE12-C07A-444A-8793-83B43DDD5D85}" dt="2021-02-24T17:19:34.883" v="315" actId="20577"/>
          <ac:spMkLst>
            <pc:docMk/>
            <pc:sldMk cId="649958680" sldId="672"/>
            <ac:spMk id="2" creationId="{55455007-8AF7-4CFF-8B0D-381E697B6724}"/>
          </ac:spMkLst>
        </pc:spChg>
        <pc:graphicFrameChg chg="mod">
          <ac:chgData name="christophe CHUECOS-FONT" userId="7e57acaa-4bc6-4644-8edc-0ecdded28594" providerId="ADAL" clId="{E0E3BE12-C07A-444A-8793-83B43DDD5D85}" dt="2021-02-24T17:19:21.983" v="292" actId="20577"/>
          <ac:graphicFrameMkLst>
            <pc:docMk/>
            <pc:sldMk cId="649958680" sldId="672"/>
            <ac:graphicFrameMk id="5" creationId="{0C899C7D-CFDA-4D32-B2E9-07B40C3BB1B2}"/>
          </ac:graphicFrameMkLst>
        </pc:graphicFrameChg>
      </pc:sldChg>
      <pc:sldChg chg="addSp delSp modSp mod setBg setClrOvrMap">
        <pc:chgData name="christophe CHUECOS-FONT" userId="7e57acaa-4bc6-4644-8edc-0ecdded28594" providerId="ADAL" clId="{E0E3BE12-C07A-444A-8793-83B43DDD5D85}" dt="2021-02-24T17:01:20.351" v="118" actId="20577"/>
        <pc:sldMkLst>
          <pc:docMk/>
          <pc:sldMk cId="3843576302" sldId="677"/>
        </pc:sldMkLst>
        <pc:spChg chg="mod">
          <ac:chgData name="christophe CHUECOS-FONT" userId="7e57acaa-4bc6-4644-8edc-0ecdded28594" providerId="ADAL" clId="{E0E3BE12-C07A-444A-8793-83B43DDD5D85}" dt="2021-02-24T17:01:20.351" v="118" actId="20577"/>
          <ac:spMkLst>
            <pc:docMk/>
            <pc:sldMk cId="3843576302" sldId="677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E0E3BE12-C07A-444A-8793-83B43DDD5D85}" dt="2021-02-24T17:01:13.023" v="116" actId="26606"/>
          <ac:spMkLst>
            <pc:docMk/>
            <pc:sldMk cId="3843576302" sldId="677"/>
            <ac:spMk id="3" creationId="{79900381-058A-49D1-91B1-63D7DD95F910}"/>
          </ac:spMkLst>
        </pc:spChg>
        <pc:spChg chg="del">
          <ac:chgData name="christophe CHUECOS-FONT" userId="7e57acaa-4bc6-4644-8edc-0ecdded28594" providerId="ADAL" clId="{E0E3BE12-C07A-444A-8793-83B43DDD5D85}" dt="2021-02-24T17:01:13.023" v="116" actId="26606"/>
          <ac:spMkLst>
            <pc:docMk/>
            <pc:sldMk cId="3843576302" sldId="677"/>
            <ac:spMk id="28" creationId="{1BB867FF-FC45-48F7-8104-F89BE54909F1}"/>
          </ac:spMkLst>
        </pc:spChg>
        <pc:spChg chg="del">
          <ac:chgData name="christophe CHUECOS-FONT" userId="7e57acaa-4bc6-4644-8edc-0ecdded28594" providerId="ADAL" clId="{E0E3BE12-C07A-444A-8793-83B43DDD5D85}" dt="2021-02-24T17:01:13.023" v="116" actId="26606"/>
          <ac:spMkLst>
            <pc:docMk/>
            <pc:sldMk cId="3843576302" sldId="677"/>
            <ac:spMk id="30" creationId="{8BB56887-D0D5-4F0C-9E19-7247EB83C8B7}"/>
          </ac:spMkLst>
        </pc:spChg>
        <pc:spChg chg="del">
          <ac:chgData name="christophe CHUECOS-FONT" userId="7e57acaa-4bc6-4644-8edc-0ecdded28594" providerId="ADAL" clId="{E0E3BE12-C07A-444A-8793-83B43DDD5D85}" dt="2021-02-24T17:01:13.023" v="116" actId="26606"/>
          <ac:spMkLst>
            <pc:docMk/>
            <pc:sldMk cId="3843576302" sldId="677"/>
            <ac:spMk id="34" creationId="{081E4A58-353D-44AE-B2FC-2A74E2E400F7}"/>
          </ac:spMkLst>
        </pc:spChg>
        <pc:spChg chg="add">
          <ac:chgData name="christophe CHUECOS-FONT" userId="7e57acaa-4bc6-4644-8edc-0ecdded28594" providerId="ADAL" clId="{E0E3BE12-C07A-444A-8793-83B43DDD5D85}" dt="2021-02-24T17:01:13.023" v="116" actId="26606"/>
          <ac:spMkLst>
            <pc:docMk/>
            <pc:sldMk cId="3843576302" sldId="677"/>
            <ac:spMk id="40" creationId="{E49CC64F-7275-4E33-961B-0C5CDC439875}"/>
          </ac:spMkLst>
        </pc:spChg>
        <pc:picChg chg="add">
          <ac:chgData name="christophe CHUECOS-FONT" userId="7e57acaa-4bc6-4644-8edc-0ecdded28594" providerId="ADAL" clId="{E0E3BE12-C07A-444A-8793-83B43DDD5D85}" dt="2021-02-24T17:01:13.023" v="116" actId="26606"/>
          <ac:picMkLst>
            <pc:docMk/>
            <pc:sldMk cId="3843576302" sldId="677"/>
            <ac:picMk id="36" creationId="{E19A54F0-B20E-4F8C-9128-4269DFE89C53}"/>
          </ac:picMkLst>
        </pc:picChg>
      </pc:sldChg>
      <pc:sldChg chg="modSp ord">
        <pc:chgData name="christophe CHUECOS-FONT" userId="7e57acaa-4bc6-4644-8edc-0ecdded28594" providerId="ADAL" clId="{E0E3BE12-C07A-444A-8793-83B43DDD5D85}" dt="2021-02-24T17:22:19.240" v="455" actId="14100"/>
        <pc:sldMkLst>
          <pc:docMk/>
          <pc:sldMk cId="2860654540" sldId="696"/>
        </pc:sldMkLst>
        <pc:graphicFrameChg chg="mod">
          <ac:chgData name="christophe CHUECOS-FONT" userId="7e57acaa-4bc6-4644-8edc-0ecdded28594" providerId="ADAL" clId="{E0E3BE12-C07A-444A-8793-83B43DDD5D85}" dt="2021-02-24T17:22:19.240" v="455" actId="14100"/>
          <ac:graphicFrameMkLst>
            <pc:docMk/>
            <pc:sldMk cId="2860654540" sldId="696"/>
            <ac:graphicFrameMk id="6" creationId="{4A6E514C-D3C4-4B29-BB5C-DB98C7CA5742}"/>
          </ac:graphicFrameMkLst>
        </pc:graphicFrameChg>
      </pc:sldChg>
      <pc:sldChg chg="del">
        <pc:chgData name="christophe CHUECOS-FONT" userId="7e57acaa-4bc6-4644-8edc-0ecdded28594" providerId="ADAL" clId="{E0E3BE12-C07A-444A-8793-83B43DDD5D85}" dt="2021-02-24T17:57:12.074" v="910" actId="47"/>
        <pc:sldMkLst>
          <pc:docMk/>
          <pc:sldMk cId="2474754196" sldId="701"/>
        </pc:sldMkLst>
      </pc:sldChg>
      <pc:sldChg chg="addSp delSp modSp mod ord setBg">
        <pc:chgData name="christophe CHUECOS-FONT" userId="7e57acaa-4bc6-4644-8edc-0ecdded28594" providerId="ADAL" clId="{E0E3BE12-C07A-444A-8793-83B43DDD5D85}" dt="2021-02-26T08:10:31.140" v="1766" actId="14100"/>
        <pc:sldMkLst>
          <pc:docMk/>
          <pc:sldMk cId="1435419321" sldId="720"/>
        </pc:sldMkLst>
        <pc:spChg chg="del">
          <ac:chgData name="christophe CHUECOS-FONT" userId="7e57acaa-4bc6-4644-8edc-0ecdded28594" providerId="ADAL" clId="{E0E3BE12-C07A-444A-8793-83B43DDD5D85}" dt="2021-02-26T08:03:32.419" v="1611" actId="21"/>
          <ac:spMkLst>
            <pc:docMk/>
            <pc:sldMk cId="1435419321" sldId="720"/>
            <ac:spMk id="2" creationId="{00000000-0000-0000-0000-000000000000}"/>
          </ac:spMkLst>
        </pc:spChg>
        <pc:spChg chg="del">
          <ac:chgData name="christophe CHUECOS-FONT" userId="7e57acaa-4bc6-4644-8edc-0ecdded28594" providerId="ADAL" clId="{E0E3BE12-C07A-444A-8793-83B43DDD5D85}" dt="2021-02-26T08:00:55.737" v="1609" actId="21"/>
          <ac:spMkLst>
            <pc:docMk/>
            <pc:sldMk cId="1435419321" sldId="720"/>
            <ac:spMk id="4" creationId="{B907A768-CC25-4A4B-8C93-DA72B4C4D5E3}"/>
          </ac:spMkLst>
        </pc:spChg>
        <pc:spChg chg="add del mod">
          <ac:chgData name="christophe CHUECOS-FONT" userId="7e57acaa-4bc6-4644-8edc-0ecdded28594" providerId="ADAL" clId="{E0E3BE12-C07A-444A-8793-83B43DDD5D85}" dt="2021-02-26T08:04:04.711" v="1615" actId="21"/>
          <ac:spMkLst>
            <pc:docMk/>
            <pc:sldMk cId="1435419321" sldId="720"/>
            <ac:spMk id="8" creationId="{9A2468A2-A3FB-4877-948F-FDF872A438CC}"/>
          </ac:spMkLst>
        </pc:spChg>
        <pc:spChg chg="mod">
          <ac:chgData name="christophe CHUECOS-FONT" userId="7e57acaa-4bc6-4644-8edc-0ecdded28594" providerId="ADAL" clId="{E0E3BE12-C07A-444A-8793-83B43DDD5D85}" dt="2021-02-26T08:00:45.219" v="1608" actId="20577"/>
          <ac:spMkLst>
            <pc:docMk/>
            <pc:sldMk cId="1435419321" sldId="720"/>
            <ac:spMk id="10" creationId="{2104DD9E-7F53-465D-8561-41BB61362ACA}"/>
          </ac:spMkLst>
        </pc:spChg>
        <pc:spChg chg="del">
          <ac:chgData name="christophe CHUECOS-FONT" userId="7e57acaa-4bc6-4644-8edc-0ecdded28594" providerId="ADAL" clId="{E0E3BE12-C07A-444A-8793-83B43DDD5D85}" dt="2021-02-26T08:10:19.268" v="1765" actId="26606"/>
          <ac:spMkLst>
            <pc:docMk/>
            <pc:sldMk cId="1435419321" sldId="720"/>
            <ac:spMk id="67" creationId="{FD6EDB49-211E-499D-9A08-6C5FF3D060F7}"/>
          </ac:spMkLst>
        </pc:spChg>
        <pc:spChg chg="del">
          <ac:chgData name="christophe CHUECOS-FONT" userId="7e57acaa-4bc6-4644-8edc-0ecdded28594" providerId="ADAL" clId="{E0E3BE12-C07A-444A-8793-83B43DDD5D85}" dt="2021-02-26T08:10:19.268" v="1765" actId="26606"/>
          <ac:spMkLst>
            <pc:docMk/>
            <pc:sldMk cId="1435419321" sldId="720"/>
            <ac:spMk id="69" creationId="{38F9F37E-D3CF-4F3D-96C2-25307819DF2D}"/>
          </ac:spMkLst>
        </pc:spChg>
        <pc:spChg chg="del">
          <ac:chgData name="christophe CHUECOS-FONT" userId="7e57acaa-4bc6-4644-8edc-0ecdded28594" providerId="ADAL" clId="{E0E3BE12-C07A-444A-8793-83B43DDD5D85}" dt="2021-02-26T08:10:19.268" v="1765" actId="26606"/>
          <ac:spMkLst>
            <pc:docMk/>
            <pc:sldMk cId="1435419321" sldId="720"/>
            <ac:spMk id="71" creationId="{C5FFF17D-767C-40E7-8C89-962F1F54BCD0}"/>
          </ac:spMkLst>
        </pc:spChg>
        <pc:spChg chg="del">
          <ac:chgData name="christophe CHUECOS-FONT" userId="7e57acaa-4bc6-4644-8edc-0ecdded28594" providerId="ADAL" clId="{E0E3BE12-C07A-444A-8793-83B43DDD5D85}" dt="2021-02-26T08:10:19.268" v="1765" actId="26606"/>
          <ac:spMkLst>
            <pc:docMk/>
            <pc:sldMk cId="1435419321" sldId="720"/>
            <ac:spMk id="73" creationId="{E69F39E1-619D-4D9E-8823-8BD8CC3206B6}"/>
          </ac:spMkLst>
        </pc:spChg>
        <pc:spChg chg="del">
          <ac:chgData name="christophe CHUECOS-FONT" userId="7e57acaa-4bc6-4644-8edc-0ecdded28594" providerId="ADAL" clId="{E0E3BE12-C07A-444A-8793-83B43DDD5D85}" dt="2021-02-26T08:10:19.268" v="1765" actId="26606"/>
          <ac:spMkLst>
            <pc:docMk/>
            <pc:sldMk cId="1435419321" sldId="720"/>
            <ac:spMk id="75" creationId="{C8C53F47-DF50-454F-A5A6-6B969748D972}"/>
          </ac:spMkLst>
        </pc:spChg>
        <pc:spChg chg="add">
          <ac:chgData name="christophe CHUECOS-FONT" userId="7e57acaa-4bc6-4644-8edc-0ecdded28594" providerId="ADAL" clId="{E0E3BE12-C07A-444A-8793-83B43DDD5D85}" dt="2021-02-26T08:10:19.268" v="1765" actId="26606"/>
          <ac:spMkLst>
            <pc:docMk/>
            <pc:sldMk cId="1435419321" sldId="720"/>
            <ac:spMk id="82" creationId="{CDDE5CDF-1512-4CDA-B956-23D223F8DE44}"/>
          </ac:spMkLst>
        </pc:spChg>
        <pc:spChg chg="add">
          <ac:chgData name="christophe CHUECOS-FONT" userId="7e57acaa-4bc6-4644-8edc-0ecdded28594" providerId="ADAL" clId="{E0E3BE12-C07A-444A-8793-83B43DDD5D85}" dt="2021-02-26T08:10:19.268" v="1765" actId="26606"/>
          <ac:spMkLst>
            <pc:docMk/>
            <pc:sldMk cId="1435419321" sldId="720"/>
            <ac:spMk id="88" creationId="{F1176DA6-4BBF-42A4-9C94-E6613CCD6B37}"/>
          </ac:spMkLst>
        </pc:spChg>
        <pc:spChg chg="add">
          <ac:chgData name="christophe CHUECOS-FONT" userId="7e57acaa-4bc6-4644-8edc-0ecdded28594" providerId="ADAL" clId="{E0E3BE12-C07A-444A-8793-83B43DDD5D85}" dt="2021-02-26T08:10:19.268" v="1765" actId="26606"/>
          <ac:spMkLst>
            <pc:docMk/>
            <pc:sldMk cId="1435419321" sldId="720"/>
            <ac:spMk id="90" creationId="{99AAB0AE-172B-4FB4-80C2-86CD6B824220}"/>
          </ac:spMkLst>
        </pc:spChg>
        <pc:picChg chg="add mod ord">
          <ac:chgData name="christophe CHUECOS-FONT" userId="7e57acaa-4bc6-4644-8edc-0ecdded28594" providerId="ADAL" clId="{E0E3BE12-C07A-444A-8793-83B43DDD5D85}" dt="2021-02-26T08:10:31.140" v="1766" actId="14100"/>
          <ac:picMkLst>
            <pc:docMk/>
            <pc:sldMk cId="1435419321" sldId="720"/>
            <ac:picMk id="6" creationId="{BA6FDF90-98B7-4DE7-9DA2-593814214CF9}"/>
          </ac:picMkLst>
        </pc:picChg>
        <pc:picChg chg="del">
          <ac:chgData name="christophe CHUECOS-FONT" userId="7e57acaa-4bc6-4644-8edc-0ecdded28594" providerId="ADAL" clId="{E0E3BE12-C07A-444A-8793-83B43DDD5D85}" dt="2021-02-26T08:10:19.268" v="1765" actId="26606"/>
          <ac:picMkLst>
            <pc:docMk/>
            <pc:sldMk cId="1435419321" sldId="720"/>
            <ac:picMk id="77" creationId="{6A26901A-BC62-4A3A-A07A-65E1F3DDDEC6}"/>
          </ac:picMkLst>
        </pc:picChg>
        <pc:picChg chg="add">
          <ac:chgData name="christophe CHUECOS-FONT" userId="7e57acaa-4bc6-4644-8edc-0ecdded28594" providerId="ADAL" clId="{E0E3BE12-C07A-444A-8793-83B43DDD5D85}" dt="2021-02-26T08:10:19.268" v="1765" actId="26606"/>
          <ac:picMkLst>
            <pc:docMk/>
            <pc:sldMk cId="1435419321" sldId="720"/>
            <ac:picMk id="84" creationId="{B029D7D8-5A6B-4C76-94C8-15798C6C5ADB}"/>
          </ac:picMkLst>
        </pc:picChg>
        <pc:cxnChg chg="add">
          <ac:chgData name="christophe CHUECOS-FONT" userId="7e57acaa-4bc6-4644-8edc-0ecdded28594" providerId="ADAL" clId="{E0E3BE12-C07A-444A-8793-83B43DDD5D85}" dt="2021-02-26T08:10:19.268" v="1765" actId="26606"/>
          <ac:cxnSpMkLst>
            <pc:docMk/>
            <pc:sldMk cId="1435419321" sldId="720"/>
            <ac:cxnSpMk id="86" creationId="{A5C9319C-E20D-4884-952F-60B6A58C3E34}"/>
          </ac:cxnSpMkLst>
        </pc:cxnChg>
      </pc:sldChg>
      <pc:sldChg chg="addSp delSp modSp mod ord setBg setClrOvrMap">
        <pc:chgData name="christophe CHUECOS-FONT" userId="7e57acaa-4bc6-4644-8edc-0ecdded28594" providerId="ADAL" clId="{E0E3BE12-C07A-444A-8793-83B43DDD5D85}" dt="2021-02-26T08:08:40.250" v="1713" actId="14100"/>
        <pc:sldMkLst>
          <pc:docMk/>
          <pc:sldMk cId="862046135" sldId="746"/>
        </pc:sldMkLst>
        <pc:spChg chg="mod">
          <ac:chgData name="christophe CHUECOS-FONT" userId="7e57acaa-4bc6-4644-8edc-0ecdded28594" providerId="ADAL" clId="{E0E3BE12-C07A-444A-8793-83B43DDD5D85}" dt="2021-02-26T08:08:40.250" v="1713" actId="14100"/>
          <ac:spMkLst>
            <pc:docMk/>
            <pc:sldMk cId="862046135" sldId="746"/>
            <ac:spMk id="2" creationId="{02517F6E-26E9-44E8-815E-774552D95FD0}"/>
          </ac:spMkLst>
        </pc:spChg>
        <pc:spChg chg="del">
          <ac:chgData name="christophe CHUECOS-FONT" userId="7e57acaa-4bc6-4644-8edc-0ecdded28594" providerId="ADAL" clId="{E0E3BE12-C07A-444A-8793-83B43DDD5D85}" dt="2021-02-26T08:08:32.046" v="1712" actId="26606"/>
          <ac:spMkLst>
            <pc:docMk/>
            <pc:sldMk cId="862046135" sldId="746"/>
            <ac:spMk id="88" creationId="{16C5FA50-8D52-4617-AF91-5C7B1C8352F1}"/>
          </ac:spMkLst>
        </pc:spChg>
        <pc:spChg chg="del">
          <ac:chgData name="christophe CHUECOS-FONT" userId="7e57acaa-4bc6-4644-8edc-0ecdded28594" providerId="ADAL" clId="{E0E3BE12-C07A-444A-8793-83B43DDD5D85}" dt="2021-02-26T08:08:32.046" v="1712" actId="26606"/>
          <ac:spMkLst>
            <pc:docMk/>
            <pc:sldMk cId="862046135" sldId="746"/>
            <ac:spMk id="90" creationId="{E223798C-12AD-4B0C-A50C-D676347D67CF}"/>
          </ac:spMkLst>
        </pc:spChg>
        <pc:spChg chg="add">
          <ac:chgData name="christophe CHUECOS-FONT" userId="7e57acaa-4bc6-4644-8edc-0ecdded28594" providerId="ADAL" clId="{E0E3BE12-C07A-444A-8793-83B43DDD5D85}" dt="2021-02-26T08:08:32.046" v="1712" actId="26606"/>
          <ac:spMkLst>
            <pc:docMk/>
            <pc:sldMk cId="862046135" sldId="746"/>
            <ac:spMk id="95" creationId="{7D144591-E9E9-4209-8701-3BB48A917D51}"/>
          </ac:spMkLst>
        </pc:spChg>
        <pc:graphicFrameChg chg="add mod modGraphic">
          <ac:chgData name="christophe CHUECOS-FONT" userId="7e57acaa-4bc6-4644-8edc-0ecdded28594" providerId="ADAL" clId="{E0E3BE12-C07A-444A-8793-83B43DDD5D85}" dt="2021-02-26T08:08:32.046" v="1712" actId="26606"/>
          <ac:graphicFrameMkLst>
            <pc:docMk/>
            <pc:sldMk cId="862046135" sldId="746"/>
            <ac:graphicFrameMk id="3" creationId="{EB47E2AE-56E8-4C2F-9AC1-214629840D45}"/>
          </ac:graphicFrameMkLst>
        </pc:graphicFrameChg>
        <pc:picChg chg="del">
          <ac:chgData name="christophe CHUECOS-FONT" userId="7e57acaa-4bc6-4644-8edc-0ecdded28594" providerId="ADAL" clId="{E0E3BE12-C07A-444A-8793-83B43DDD5D85}" dt="2021-02-26T08:06:13.932" v="1622" actId="478"/>
          <ac:picMkLst>
            <pc:docMk/>
            <pc:sldMk cId="862046135" sldId="746"/>
            <ac:picMk id="36" creationId="{FC9EF324-339C-4E46-9508-BF0C86AAC793}"/>
          </ac:picMkLst>
        </pc:picChg>
      </pc:sldChg>
      <pc:sldChg chg="del">
        <pc:chgData name="christophe CHUECOS-FONT" userId="7e57acaa-4bc6-4644-8edc-0ecdded28594" providerId="ADAL" clId="{E0E3BE12-C07A-444A-8793-83B43DDD5D85}" dt="2021-02-24T17:55:12.462" v="783" actId="47"/>
        <pc:sldMkLst>
          <pc:docMk/>
          <pc:sldMk cId="207037776" sldId="748"/>
        </pc:sldMkLst>
      </pc:sldChg>
      <pc:sldChg chg="del">
        <pc:chgData name="christophe CHUECOS-FONT" userId="7e57acaa-4bc6-4644-8edc-0ecdded28594" providerId="ADAL" clId="{E0E3BE12-C07A-444A-8793-83B43DDD5D85}" dt="2021-02-24T17:55:00.200" v="778" actId="47"/>
        <pc:sldMkLst>
          <pc:docMk/>
          <pc:sldMk cId="4173125488" sldId="749"/>
        </pc:sldMkLst>
      </pc:sldChg>
      <pc:sldChg chg="modSp del ord">
        <pc:chgData name="christophe CHUECOS-FONT" userId="7e57acaa-4bc6-4644-8edc-0ecdded28594" providerId="ADAL" clId="{E0E3BE12-C07A-444A-8793-83B43DDD5D85}" dt="2021-02-24T17:22:26.430" v="456" actId="47"/>
        <pc:sldMkLst>
          <pc:docMk/>
          <pc:sldMk cId="1331932978" sldId="750"/>
        </pc:sldMkLst>
        <pc:graphicFrameChg chg="mod">
          <ac:chgData name="christophe CHUECOS-FONT" userId="7e57acaa-4bc6-4644-8edc-0ecdded28594" providerId="ADAL" clId="{E0E3BE12-C07A-444A-8793-83B43DDD5D85}" dt="2021-02-24T17:15:04.553" v="246" actId="20577"/>
          <ac:graphicFrameMkLst>
            <pc:docMk/>
            <pc:sldMk cId="1331932978" sldId="750"/>
            <ac:graphicFrameMk id="11" creationId="{E94DFFC9-EC83-475B-9CC4-E7F2C5E65D08}"/>
          </ac:graphicFrameMkLst>
        </pc:graphicFrameChg>
      </pc:sldChg>
      <pc:sldChg chg="modSp mod ord">
        <pc:chgData name="christophe CHUECOS-FONT" userId="7e57acaa-4bc6-4644-8edc-0ecdded28594" providerId="ADAL" clId="{E0E3BE12-C07A-444A-8793-83B43DDD5D85}" dt="2021-02-24T17:41:44.058" v="509" actId="20577"/>
        <pc:sldMkLst>
          <pc:docMk/>
          <pc:sldMk cId="199886149" sldId="751"/>
        </pc:sldMkLst>
        <pc:spChg chg="mod">
          <ac:chgData name="christophe CHUECOS-FONT" userId="7e57acaa-4bc6-4644-8edc-0ecdded28594" providerId="ADAL" clId="{E0E3BE12-C07A-444A-8793-83B43DDD5D85}" dt="2021-02-24T17:41:44.058" v="509" actId="20577"/>
          <ac:spMkLst>
            <pc:docMk/>
            <pc:sldMk cId="199886149" sldId="751"/>
            <ac:spMk id="5" creationId="{DFEA2082-E7DE-4453-8158-54F380B94285}"/>
          </ac:spMkLst>
        </pc:spChg>
      </pc:sldChg>
      <pc:sldChg chg="del">
        <pc:chgData name="christophe CHUECOS-FONT" userId="7e57acaa-4bc6-4644-8edc-0ecdded28594" providerId="ADAL" clId="{E0E3BE12-C07A-444A-8793-83B43DDD5D85}" dt="2021-02-24T17:55:08.078" v="780" actId="47"/>
        <pc:sldMkLst>
          <pc:docMk/>
          <pc:sldMk cId="1555533496" sldId="752"/>
        </pc:sldMkLst>
      </pc:sldChg>
      <pc:sldChg chg="modSp del mod">
        <pc:chgData name="christophe CHUECOS-FONT" userId="7e57acaa-4bc6-4644-8edc-0ecdded28594" providerId="ADAL" clId="{E0E3BE12-C07A-444A-8793-83B43DDD5D85}" dt="2021-02-26T08:20:15.735" v="2120" actId="6549"/>
        <pc:sldMkLst>
          <pc:docMk/>
          <pc:sldMk cId="1388402899" sldId="753"/>
        </pc:sldMkLst>
        <pc:spChg chg="mod">
          <ac:chgData name="christophe CHUECOS-FONT" userId="7e57acaa-4bc6-4644-8edc-0ecdded28594" providerId="ADAL" clId="{E0E3BE12-C07A-444A-8793-83B43DDD5D85}" dt="2021-02-26T08:20:15.735" v="2120" actId="6549"/>
          <ac:spMkLst>
            <pc:docMk/>
            <pc:sldMk cId="1388402899" sldId="753"/>
            <ac:spMk id="2" creationId="{00000000-0000-0000-0000-000000000000}"/>
          </ac:spMkLst>
        </pc:spChg>
        <pc:graphicFrameChg chg="mod">
          <ac:chgData name="christophe CHUECOS-FONT" userId="7e57acaa-4bc6-4644-8edc-0ecdded28594" providerId="ADAL" clId="{E0E3BE12-C07A-444A-8793-83B43DDD5D85}" dt="2021-02-26T08:18:54.702" v="2073" actId="20577"/>
          <ac:graphicFrameMkLst>
            <pc:docMk/>
            <pc:sldMk cId="1388402899" sldId="753"/>
            <ac:graphicFrameMk id="18" creationId="{617CF2FB-A56B-4819-897B-4183F10C8A27}"/>
          </ac:graphicFrameMkLst>
        </pc:graphicFrameChg>
      </pc:sldChg>
      <pc:sldChg chg="del">
        <pc:chgData name="christophe CHUECOS-FONT" userId="7e57acaa-4bc6-4644-8edc-0ecdded28594" providerId="ADAL" clId="{E0E3BE12-C07A-444A-8793-83B43DDD5D85}" dt="2021-02-24T17:55:11.197" v="782" actId="47"/>
        <pc:sldMkLst>
          <pc:docMk/>
          <pc:sldMk cId="1279459092" sldId="754"/>
        </pc:sldMkLst>
      </pc:sldChg>
      <pc:sldChg chg="del">
        <pc:chgData name="christophe CHUECOS-FONT" userId="7e57acaa-4bc6-4644-8edc-0ecdded28594" providerId="ADAL" clId="{E0E3BE12-C07A-444A-8793-83B43DDD5D85}" dt="2021-02-24T17:55:06.291" v="779" actId="47"/>
        <pc:sldMkLst>
          <pc:docMk/>
          <pc:sldMk cId="3967480954" sldId="755"/>
        </pc:sldMkLst>
      </pc:sldChg>
      <pc:sldChg chg="del">
        <pc:chgData name="christophe CHUECOS-FONT" userId="7e57acaa-4bc6-4644-8edc-0ecdded28594" providerId="ADAL" clId="{E0E3BE12-C07A-444A-8793-83B43DDD5D85}" dt="2021-02-24T17:55:45.323" v="793" actId="47"/>
        <pc:sldMkLst>
          <pc:docMk/>
          <pc:sldMk cId="18592871" sldId="757"/>
        </pc:sldMkLst>
      </pc:sldChg>
      <pc:sldChg chg="del">
        <pc:chgData name="christophe CHUECOS-FONT" userId="7e57acaa-4bc6-4644-8edc-0ecdded28594" providerId="ADAL" clId="{E0E3BE12-C07A-444A-8793-83B43DDD5D85}" dt="2021-02-24T17:55:13.668" v="784" actId="47"/>
        <pc:sldMkLst>
          <pc:docMk/>
          <pc:sldMk cId="3419805560" sldId="759"/>
        </pc:sldMkLst>
      </pc:sldChg>
      <pc:sldChg chg="modSp mod">
        <pc:chgData name="christophe CHUECOS-FONT" userId="7e57acaa-4bc6-4644-8edc-0ecdded28594" providerId="ADAL" clId="{E0E3BE12-C07A-444A-8793-83B43DDD5D85}" dt="2021-02-26T07:57:14.002" v="1540" actId="6549"/>
        <pc:sldMkLst>
          <pc:docMk/>
          <pc:sldMk cId="3112461652" sldId="760"/>
        </pc:sldMkLst>
        <pc:spChg chg="mod">
          <ac:chgData name="christophe CHUECOS-FONT" userId="7e57acaa-4bc6-4644-8edc-0ecdded28594" providerId="ADAL" clId="{E0E3BE12-C07A-444A-8793-83B43DDD5D85}" dt="2021-02-26T07:57:14.002" v="1540" actId="6549"/>
          <ac:spMkLst>
            <pc:docMk/>
            <pc:sldMk cId="3112461652" sldId="760"/>
            <ac:spMk id="2" creationId="{02517F6E-26E9-44E8-815E-774552D95FD0}"/>
          </ac:spMkLst>
        </pc:spChg>
      </pc:sldChg>
      <pc:sldChg chg="addSp delSp modSp mod setBg">
        <pc:chgData name="christophe CHUECOS-FONT" userId="7e57acaa-4bc6-4644-8edc-0ecdded28594" providerId="ADAL" clId="{E0E3BE12-C07A-444A-8793-83B43DDD5D85}" dt="2021-02-26T08:16:54.882" v="1992" actId="14100"/>
        <pc:sldMkLst>
          <pc:docMk/>
          <pc:sldMk cId="212327455" sldId="761"/>
        </pc:sldMkLst>
        <pc:spChg chg="mod">
          <ac:chgData name="christophe CHUECOS-FONT" userId="7e57acaa-4bc6-4644-8edc-0ecdded28594" providerId="ADAL" clId="{E0E3BE12-C07A-444A-8793-83B43DDD5D85}" dt="2021-02-26T08:16:32.155" v="1989" actId="26606"/>
          <ac:spMkLst>
            <pc:docMk/>
            <pc:sldMk cId="212327455" sldId="761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E0E3BE12-C07A-444A-8793-83B43DDD5D85}" dt="2021-02-26T08:16:54.882" v="1992" actId="14100"/>
          <ac:spMkLst>
            <pc:docMk/>
            <pc:sldMk cId="212327455" sldId="761"/>
            <ac:spMk id="10" creationId="{2104DD9E-7F53-465D-8561-41BB61362ACA}"/>
          </ac:spMkLst>
        </pc:spChg>
        <pc:spChg chg="add del">
          <ac:chgData name="christophe CHUECOS-FONT" userId="7e57acaa-4bc6-4644-8edc-0ecdded28594" providerId="ADAL" clId="{E0E3BE12-C07A-444A-8793-83B43DDD5D85}" dt="2021-02-26T08:16:32.155" v="1989" actId="26606"/>
          <ac:spMkLst>
            <pc:docMk/>
            <pc:sldMk cId="212327455" sldId="761"/>
            <ac:spMk id="67" creationId="{FD6EDB49-211E-499D-9A08-6C5FF3D060F7}"/>
          </ac:spMkLst>
        </pc:spChg>
        <pc:spChg chg="add del">
          <ac:chgData name="christophe CHUECOS-FONT" userId="7e57acaa-4bc6-4644-8edc-0ecdded28594" providerId="ADAL" clId="{E0E3BE12-C07A-444A-8793-83B43DDD5D85}" dt="2021-02-26T08:16:32.155" v="1989" actId="26606"/>
          <ac:spMkLst>
            <pc:docMk/>
            <pc:sldMk cId="212327455" sldId="761"/>
            <ac:spMk id="69" creationId="{38F9F37E-D3CF-4F3D-96C2-25307819DF2D}"/>
          </ac:spMkLst>
        </pc:spChg>
        <pc:spChg chg="add del">
          <ac:chgData name="christophe CHUECOS-FONT" userId="7e57acaa-4bc6-4644-8edc-0ecdded28594" providerId="ADAL" clId="{E0E3BE12-C07A-444A-8793-83B43DDD5D85}" dt="2021-02-26T08:16:32.155" v="1989" actId="26606"/>
          <ac:spMkLst>
            <pc:docMk/>
            <pc:sldMk cId="212327455" sldId="761"/>
            <ac:spMk id="71" creationId="{C5FFF17D-767C-40E7-8C89-962F1F54BCD0}"/>
          </ac:spMkLst>
        </pc:spChg>
        <pc:spChg chg="add del">
          <ac:chgData name="christophe CHUECOS-FONT" userId="7e57acaa-4bc6-4644-8edc-0ecdded28594" providerId="ADAL" clId="{E0E3BE12-C07A-444A-8793-83B43DDD5D85}" dt="2021-02-26T08:16:32.155" v="1989" actId="26606"/>
          <ac:spMkLst>
            <pc:docMk/>
            <pc:sldMk cId="212327455" sldId="761"/>
            <ac:spMk id="73" creationId="{E69F39E1-619D-4D9E-8823-8BD8CC3206B6}"/>
          </ac:spMkLst>
        </pc:spChg>
        <pc:spChg chg="add del">
          <ac:chgData name="christophe CHUECOS-FONT" userId="7e57acaa-4bc6-4644-8edc-0ecdded28594" providerId="ADAL" clId="{E0E3BE12-C07A-444A-8793-83B43DDD5D85}" dt="2021-02-26T08:16:32.155" v="1989" actId="26606"/>
          <ac:spMkLst>
            <pc:docMk/>
            <pc:sldMk cId="212327455" sldId="761"/>
            <ac:spMk id="75" creationId="{C8C53F47-DF50-454F-A5A6-6B969748D972}"/>
          </ac:spMkLst>
        </pc:spChg>
        <pc:spChg chg="add del">
          <ac:chgData name="christophe CHUECOS-FONT" userId="7e57acaa-4bc6-4644-8edc-0ecdded28594" providerId="ADAL" clId="{E0E3BE12-C07A-444A-8793-83B43DDD5D85}" dt="2021-02-26T08:16:29.501" v="1986" actId="26606"/>
          <ac:spMkLst>
            <pc:docMk/>
            <pc:sldMk cId="212327455" sldId="761"/>
            <ac:spMk id="82" creationId="{928AC827-DE41-4D3E-A58A-7459D979E65B}"/>
          </ac:spMkLst>
        </pc:spChg>
        <pc:spChg chg="add del">
          <ac:chgData name="christophe CHUECOS-FONT" userId="7e57acaa-4bc6-4644-8edc-0ecdded28594" providerId="ADAL" clId="{E0E3BE12-C07A-444A-8793-83B43DDD5D85}" dt="2021-02-26T08:16:29.501" v="1986" actId="26606"/>
          <ac:spMkLst>
            <pc:docMk/>
            <pc:sldMk cId="212327455" sldId="761"/>
            <ac:spMk id="88" creationId="{4197647C-4C56-4F84-ABC7-9E6F3E67838A}"/>
          </ac:spMkLst>
        </pc:spChg>
        <pc:spChg chg="add del">
          <ac:chgData name="christophe CHUECOS-FONT" userId="7e57acaa-4bc6-4644-8edc-0ecdded28594" providerId="ADAL" clId="{E0E3BE12-C07A-444A-8793-83B43DDD5D85}" dt="2021-02-26T08:16:32.146" v="1988" actId="26606"/>
          <ac:spMkLst>
            <pc:docMk/>
            <pc:sldMk cId="212327455" sldId="761"/>
            <ac:spMk id="90" creationId="{29C51009-A09A-4689-8E6C-F8FC99E6A840}"/>
          </ac:spMkLst>
        </pc:spChg>
        <pc:spChg chg="add">
          <ac:chgData name="christophe CHUECOS-FONT" userId="7e57acaa-4bc6-4644-8edc-0ecdded28594" providerId="ADAL" clId="{E0E3BE12-C07A-444A-8793-83B43DDD5D85}" dt="2021-02-26T08:16:32.155" v="1989" actId="26606"/>
          <ac:spMkLst>
            <pc:docMk/>
            <pc:sldMk cId="212327455" sldId="761"/>
            <ac:spMk id="93" creationId="{F63C748C-967B-4A7B-A90F-3EDD0F485AC6}"/>
          </ac:spMkLst>
        </pc:spChg>
        <pc:spChg chg="add">
          <ac:chgData name="christophe CHUECOS-FONT" userId="7e57acaa-4bc6-4644-8edc-0ecdded28594" providerId="ADAL" clId="{E0E3BE12-C07A-444A-8793-83B43DDD5D85}" dt="2021-02-26T08:16:32.155" v="1989" actId="26606"/>
          <ac:spMkLst>
            <pc:docMk/>
            <pc:sldMk cId="212327455" sldId="761"/>
            <ac:spMk id="94" creationId="{C0143637-4934-44E4-B909-BAF1E7B27972}"/>
          </ac:spMkLst>
        </pc:spChg>
        <pc:grpChg chg="add del">
          <ac:chgData name="christophe CHUECOS-FONT" userId="7e57acaa-4bc6-4644-8edc-0ecdded28594" providerId="ADAL" clId="{E0E3BE12-C07A-444A-8793-83B43DDD5D85}" dt="2021-02-26T08:16:29.501" v="1986" actId="26606"/>
          <ac:grpSpMkLst>
            <pc:docMk/>
            <pc:sldMk cId="212327455" sldId="761"/>
            <ac:grpSpMk id="84" creationId="{1FAD7B33-B27E-4BD4-BE9C-A3698E433CF5}"/>
          </ac:grpSpMkLst>
        </pc:grpChg>
        <pc:picChg chg="add del">
          <ac:chgData name="christophe CHUECOS-FONT" userId="7e57acaa-4bc6-4644-8edc-0ecdded28594" providerId="ADAL" clId="{E0E3BE12-C07A-444A-8793-83B43DDD5D85}" dt="2021-02-26T08:16:32.155" v="1989" actId="26606"/>
          <ac:picMkLst>
            <pc:docMk/>
            <pc:sldMk cId="212327455" sldId="761"/>
            <ac:picMk id="77" creationId="{6A26901A-BC62-4A3A-A07A-65E1F3DDDEC6}"/>
          </ac:picMkLst>
        </pc:picChg>
        <pc:cxnChg chg="add del">
          <ac:chgData name="christophe CHUECOS-FONT" userId="7e57acaa-4bc6-4644-8edc-0ecdded28594" providerId="ADAL" clId="{E0E3BE12-C07A-444A-8793-83B43DDD5D85}" dt="2021-02-26T08:16:32.146" v="1988" actId="26606"/>
          <ac:cxnSpMkLst>
            <pc:docMk/>
            <pc:sldMk cId="212327455" sldId="761"/>
            <ac:cxnSpMk id="91" creationId="{9EC65442-F244-409C-BF44-C5D6472E810A}"/>
          </ac:cxnSpMkLst>
        </pc:cxnChg>
      </pc:sldChg>
      <pc:sldChg chg="del">
        <pc:chgData name="christophe CHUECOS-FONT" userId="7e57acaa-4bc6-4644-8edc-0ecdded28594" providerId="ADAL" clId="{E0E3BE12-C07A-444A-8793-83B43DDD5D85}" dt="2021-02-26T08:18:18.488" v="1993" actId="47"/>
        <pc:sldMkLst>
          <pc:docMk/>
          <pc:sldMk cId="2127276154" sldId="762"/>
        </pc:sldMkLst>
      </pc:sldChg>
      <pc:sldChg chg="del">
        <pc:chgData name="christophe CHUECOS-FONT" userId="7e57acaa-4bc6-4644-8edc-0ecdded28594" providerId="ADAL" clId="{E0E3BE12-C07A-444A-8793-83B43DDD5D85}" dt="2021-02-26T08:18:18.488" v="1993" actId="47"/>
        <pc:sldMkLst>
          <pc:docMk/>
          <pc:sldMk cId="4144782788" sldId="763"/>
        </pc:sldMkLst>
      </pc:sldChg>
      <pc:sldChg chg="del">
        <pc:chgData name="christophe CHUECOS-FONT" userId="7e57acaa-4bc6-4644-8edc-0ecdded28594" providerId="ADAL" clId="{E0E3BE12-C07A-444A-8793-83B43DDD5D85}" dt="2021-02-26T08:18:18.488" v="1993" actId="47"/>
        <pc:sldMkLst>
          <pc:docMk/>
          <pc:sldMk cId="3860019962" sldId="764"/>
        </pc:sldMkLst>
      </pc:sldChg>
      <pc:sldChg chg="del">
        <pc:chgData name="christophe CHUECOS-FONT" userId="7e57acaa-4bc6-4644-8edc-0ecdded28594" providerId="ADAL" clId="{E0E3BE12-C07A-444A-8793-83B43DDD5D85}" dt="2021-02-26T08:18:18.488" v="1993" actId="47"/>
        <pc:sldMkLst>
          <pc:docMk/>
          <pc:sldMk cId="2787990808" sldId="765"/>
        </pc:sldMkLst>
      </pc:sldChg>
      <pc:sldChg chg="del">
        <pc:chgData name="christophe CHUECOS-FONT" userId="7e57acaa-4bc6-4644-8edc-0ecdded28594" providerId="ADAL" clId="{E0E3BE12-C07A-444A-8793-83B43DDD5D85}" dt="2021-02-26T08:18:18.488" v="1993" actId="47"/>
        <pc:sldMkLst>
          <pc:docMk/>
          <pc:sldMk cId="3006974179" sldId="766"/>
        </pc:sldMkLst>
      </pc:sldChg>
      <pc:sldChg chg="del">
        <pc:chgData name="christophe CHUECOS-FONT" userId="7e57acaa-4bc6-4644-8edc-0ecdded28594" providerId="ADAL" clId="{E0E3BE12-C07A-444A-8793-83B43DDD5D85}" dt="2021-02-26T08:18:18.488" v="1993" actId="47"/>
        <pc:sldMkLst>
          <pc:docMk/>
          <pc:sldMk cId="3594099411" sldId="767"/>
        </pc:sldMkLst>
      </pc:sldChg>
      <pc:sldChg chg="del">
        <pc:chgData name="christophe CHUECOS-FONT" userId="7e57acaa-4bc6-4644-8edc-0ecdded28594" providerId="ADAL" clId="{E0E3BE12-C07A-444A-8793-83B43DDD5D85}" dt="2021-02-26T08:18:18.488" v="1993" actId="47"/>
        <pc:sldMkLst>
          <pc:docMk/>
          <pc:sldMk cId="3439461203" sldId="768"/>
        </pc:sldMkLst>
      </pc:sldChg>
      <pc:sldChg chg="del">
        <pc:chgData name="christophe CHUECOS-FONT" userId="7e57acaa-4bc6-4644-8edc-0ecdded28594" providerId="ADAL" clId="{E0E3BE12-C07A-444A-8793-83B43DDD5D85}" dt="2021-02-24T17:57:09.535" v="909" actId="47"/>
        <pc:sldMkLst>
          <pc:docMk/>
          <pc:sldMk cId="1646378701" sldId="769"/>
        </pc:sldMkLst>
      </pc:sldChg>
      <pc:sldChg chg="del">
        <pc:chgData name="christophe CHUECOS-FONT" userId="7e57acaa-4bc6-4644-8edc-0ecdded28594" providerId="ADAL" clId="{E0E3BE12-C07A-444A-8793-83B43DDD5D85}" dt="2021-02-24T17:57:08.111" v="908" actId="47"/>
        <pc:sldMkLst>
          <pc:docMk/>
          <pc:sldMk cId="6719625" sldId="770"/>
        </pc:sldMkLst>
      </pc:sldChg>
      <pc:sldChg chg="addSp modSp add mod">
        <pc:chgData name="christophe CHUECOS-FONT" userId="7e57acaa-4bc6-4644-8edc-0ecdded28594" providerId="ADAL" clId="{E0E3BE12-C07A-444A-8793-83B43DDD5D85}" dt="2021-02-24T17:55:41.167" v="792" actId="255"/>
        <pc:sldMkLst>
          <pc:docMk/>
          <pc:sldMk cId="3892075455" sldId="771"/>
        </pc:sldMkLst>
        <pc:spChg chg="add mod">
          <ac:chgData name="christophe CHUECOS-FONT" userId="7e57acaa-4bc6-4644-8edc-0ecdded28594" providerId="ADAL" clId="{E0E3BE12-C07A-444A-8793-83B43DDD5D85}" dt="2021-02-24T17:55:41.167" v="792" actId="255"/>
          <ac:spMkLst>
            <pc:docMk/>
            <pc:sldMk cId="3892075455" sldId="771"/>
            <ac:spMk id="2" creationId="{232A2D28-A06C-48FD-ABB4-EB7E27B84308}"/>
          </ac:spMkLst>
        </pc:spChg>
      </pc:sldChg>
      <pc:sldChg chg="addSp delSp modSp add mod ord">
        <pc:chgData name="christophe CHUECOS-FONT" userId="7e57acaa-4bc6-4644-8edc-0ecdded28594" providerId="ADAL" clId="{E0E3BE12-C07A-444A-8793-83B43DDD5D85}" dt="2021-02-24T17:38:49.388" v="497" actId="1076"/>
        <pc:sldMkLst>
          <pc:docMk/>
          <pc:sldMk cId="2762610378" sldId="772"/>
        </pc:sldMkLst>
        <pc:spChg chg="add del mod">
          <ac:chgData name="christophe CHUECOS-FONT" userId="7e57acaa-4bc6-4644-8edc-0ecdded28594" providerId="ADAL" clId="{E0E3BE12-C07A-444A-8793-83B43DDD5D85}" dt="2021-02-24T17:31:19.677" v="465" actId="931"/>
          <ac:spMkLst>
            <pc:docMk/>
            <pc:sldMk cId="2762610378" sldId="772"/>
            <ac:spMk id="3" creationId="{2EEC8EBD-E450-4103-A4CF-634BA8D7F40B}"/>
          </ac:spMkLst>
        </pc:spChg>
        <pc:spChg chg="add del mod">
          <ac:chgData name="christophe CHUECOS-FONT" userId="7e57acaa-4bc6-4644-8edc-0ecdded28594" providerId="ADAL" clId="{E0E3BE12-C07A-444A-8793-83B43DDD5D85}" dt="2021-02-24T17:32:29.667" v="467" actId="22"/>
          <ac:spMkLst>
            <pc:docMk/>
            <pc:sldMk cId="2762610378" sldId="772"/>
            <ac:spMk id="8" creationId="{390A33DD-E65E-484C-B6FC-9F19691B0F99}"/>
          </ac:spMkLst>
        </pc:spChg>
        <pc:spChg chg="add del mod">
          <ac:chgData name="christophe CHUECOS-FONT" userId="7e57acaa-4bc6-4644-8edc-0ecdded28594" providerId="ADAL" clId="{E0E3BE12-C07A-444A-8793-83B43DDD5D85}" dt="2021-02-24T17:35:52.204" v="478" actId="22"/>
          <ac:spMkLst>
            <pc:docMk/>
            <pc:sldMk cId="2762610378" sldId="772"/>
            <ac:spMk id="35" creationId="{1690BCAC-5D69-4E7F-8431-C77A414C345C}"/>
          </ac:spMkLst>
        </pc:spChg>
        <pc:spChg chg="add del mod">
          <ac:chgData name="christophe CHUECOS-FONT" userId="7e57acaa-4bc6-4644-8edc-0ecdded28594" providerId="ADAL" clId="{E0E3BE12-C07A-444A-8793-83B43DDD5D85}" dt="2021-02-24T17:37:48.107" v="483" actId="22"/>
          <ac:spMkLst>
            <pc:docMk/>
            <pc:sldMk cId="2762610378" sldId="772"/>
            <ac:spMk id="41" creationId="{26B86D89-67C2-4D49-A427-CC7CDED11E59}"/>
          </ac:spMkLst>
        </pc:spChg>
        <pc:graphicFrameChg chg="del mod">
          <ac:chgData name="christophe CHUECOS-FONT" userId="7e57acaa-4bc6-4644-8edc-0ecdded28594" providerId="ADAL" clId="{E0E3BE12-C07A-444A-8793-83B43DDD5D85}" dt="2021-02-24T17:31:07.125" v="464" actId="21"/>
          <ac:graphicFrameMkLst>
            <pc:docMk/>
            <pc:sldMk cId="2762610378" sldId="772"/>
            <ac:graphicFrameMk id="6" creationId="{4A6E514C-D3C4-4B29-BB5C-DB98C7CA5742}"/>
          </ac:graphicFrameMkLst>
        </pc:graphicFrameChg>
        <pc:picChg chg="add del mod">
          <ac:chgData name="christophe CHUECOS-FONT" userId="7e57acaa-4bc6-4644-8edc-0ecdded28594" providerId="ADAL" clId="{E0E3BE12-C07A-444A-8793-83B43DDD5D85}" dt="2021-02-24T17:31:25.045" v="466" actId="21"/>
          <ac:picMkLst>
            <pc:docMk/>
            <pc:sldMk cId="2762610378" sldId="772"/>
            <ac:picMk id="5" creationId="{1BB802A8-3C59-406E-89B7-FE59274CB27A}"/>
          </ac:picMkLst>
        </pc:picChg>
        <pc:picChg chg="add del mod ord">
          <ac:chgData name="christophe CHUECOS-FONT" userId="7e57acaa-4bc6-4644-8edc-0ecdded28594" providerId="ADAL" clId="{E0E3BE12-C07A-444A-8793-83B43DDD5D85}" dt="2021-02-24T17:32:45.025" v="469" actId="478"/>
          <ac:picMkLst>
            <pc:docMk/>
            <pc:sldMk cId="2762610378" sldId="772"/>
            <ac:picMk id="10" creationId="{58FE3667-EA02-4364-96A4-EECC65BC6EE3}"/>
          </ac:picMkLst>
        </pc:picChg>
        <pc:picChg chg="add del mod ord">
          <ac:chgData name="christophe CHUECOS-FONT" userId="7e57acaa-4bc6-4644-8edc-0ecdded28594" providerId="ADAL" clId="{E0E3BE12-C07A-444A-8793-83B43DDD5D85}" dt="2021-02-24T17:34:30.429" v="477" actId="22"/>
          <ac:picMkLst>
            <pc:docMk/>
            <pc:sldMk cId="2762610378" sldId="772"/>
            <ac:picMk id="37" creationId="{F5889782-1845-4583-8994-614D7EA29B39}"/>
          </ac:picMkLst>
        </pc:picChg>
        <pc:picChg chg="add del mod ord">
          <ac:chgData name="christophe CHUECOS-FONT" userId="7e57acaa-4bc6-4644-8edc-0ecdded28594" providerId="ADAL" clId="{E0E3BE12-C07A-444A-8793-83B43DDD5D85}" dt="2021-02-24T17:37:38.416" v="482" actId="478"/>
          <ac:picMkLst>
            <pc:docMk/>
            <pc:sldMk cId="2762610378" sldId="772"/>
            <ac:picMk id="39" creationId="{4AC863A2-D45C-4EDD-8A50-2BAF22F98505}"/>
          </ac:picMkLst>
        </pc:picChg>
        <pc:picChg chg="add mod ord">
          <ac:chgData name="christophe CHUECOS-FONT" userId="7e57acaa-4bc6-4644-8edc-0ecdded28594" providerId="ADAL" clId="{E0E3BE12-C07A-444A-8793-83B43DDD5D85}" dt="2021-02-24T17:38:49.388" v="497" actId="1076"/>
          <ac:picMkLst>
            <pc:docMk/>
            <pc:sldMk cId="2762610378" sldId="772"/>
            <ac:picMk id="43" creationId="{75F83CB2-3FD3-4998-913A-993E154A6722}"/>
          </ac:picMkLst>
        </pc:picChg>
      </pc:sldChg>
      <pc:sldChg chg="modSp add mod ord">
        <pc:chgData name="christophe CHUECOS-FONT" userId="7e57acaa-4bc6-4644-8edc-0ecdded28594" providerId="ADAL" clId="{E0E3BE12-C07A-444A-8793-83B43DDD5D85}" dt="2021-02-24T17:42:36.428" v="523" actId="14100"/>
        <pc:sldMkLst>
          <pc:docMk/>
          <pc:sldMk cId="2111735787" sldId="773"/>
        </pc:sldMkLst>
        <pc:picChg chg="mod">
          <ac:chgData name="christophe CHUECOS-FONT" userId="7e57acaa-4bc6-4644-8edc-0ecdded28594" providerId="ADAL" clId="{E0E3BE12-C07A-444A-8793-83B43DDD5D85}" dt="2021-02-24T17:42:36.428" v="523" actId="14100"/>
          <ac:picMkLst>
            <pc:docMk/>
            <pc:sldMk cId="2111735787" sldId="773"/>
            <ac:picMk id="43" creationId="{75F83CB2-3FD3-4998-913A-993E154A6722}"/>
          </ac:picMkLst>
        </pc:picChg>
      </pc:sldChg>
      <pc:sldChg chg="modSp add mod">
        <pc:chgData name="christophe CHUECOS-FONT" userId="7e57acaa-4bc6-4644-8edc-0ecdded28594" providerId="ADAL" clId="{E0E3BE12-C07A-444A-8793-83B43DDD5D85}" dt="2021-02-24T17:41:52.603" v="513" actId="20577"/>
        <pc:sldMkLst>
          <pc:docMk/>
          <pc:sldMk cId="696502473" sldId="774"/>
        </pc:sldMkLst>
        <pc:spChg chg="mod">
          <ac:chgData name="christophe CHUECOS-FONT" userId="7e57acaa-4bc6-4644-8edc-0ecdded28594" providerId="ADAL" clId="{E0E3BE12-C07A-444A-8793-83B43DDD5D85}" dt="2021-02-24T17:41:52.603" v="513" actId="20577"/>
          <ac:spMkLst>
            <pc:docMk/>
            <pc:sldMk cId="696502473" sldId="774"/>
            <ac:spMk id="5" creationId="{DFEA2082-E7DE-4453-8158-54F380B94285}"/>
          </ac:spMkLst>
        </pc:spChg>
      </pc:sldChg>
      <pc:sldChg chg="add">
        <pc:chgData name="christophe CHUECOS-FONT" userId="7e57acaa-4bc6-4644-8edc-0ecdded28594" providerId="ADAL" clId="{E0E3BE12-C07A-444A-8793-83B43DDD5D85}" dt="2021-02-24T17:41:59.699" v="514" actId="2890"/>
        <pc:sldMkLst>
          <pc:docMk/>
          <pc:sldMk cId="4174618780" sldId="775"/>
        </pc:sldMkLst>
      </pc:sldChg>
      <pc:sldChg chg="add del">
        <pc:chgData name="christophe CHUECOS-FONT" userId="7e57acaa-4bc6-4644-8edc-0ecdded28594" providerId="ADAL" clId="{E0E3BE12-C07A-444A-8793-83B43DDD5D85}" dt="2021-02-24T17:42:16.962" v="519" actId="47"/>
        <pc:sldMkLst>
          <pc:docMk/>
          <pc:sldMk cId="2114115078" sldId="776"/>
        </pc:sldMkLst>
      </pc:sldChg>
      <pc:sldChg chg="modSp add mod">
        <pc:chgData name="christophe CHUECOS-FONT" userId="7e57acaa-4bc6-4644-8edc-0ecdded28594" providerId="ADAL" clId="{E0E3BE12-C07A-444A-8793-83B43DDD5D85}" dt="2021-02-24T17:42:48.864" v="527" actId="14100"/>
        <pc:sldMkLst>
          <pc:docMk/>
          <pc:sldMk cId="2798386433" sldId="776"/>
        </pc:sldMkLst>
        <pc:picChg chg="mod">
          <ac:chgData name="christophe CHUECOS-FONT" userId="7e57acaa-4bc6-4644-8edc-0ecdded28594" providerId="ADAL" clId="{E0E3BE12-C07A-444A-8793-83B43DDD5D85}" dt="2021-02-24T17:42:48.864" v="527" actId="14100"/>
          <ac:picMkLst>
            <pc:docMk/>
            <pc:sldMk cId="2798386433" sldId="776"/>
            <ac:picMk id="43" creationId="{75F83CB2-3FD3-4998-913A-993E154A6722}"/>
          </ac:picMkLst>
        </pc:picChg>
      </pc:sldChg>
      <pc:sldChg chg="addSp delSp modSp add mod ord setBg setClrOvrMap">
        <pc:chgData name="christophe CHUECOS-FONT" userId="7e57acaa-4bc6-4644-8edc-0ecdded28594" providerId="ADAL" clId="{E0E3BE12-C07A-444A-8793-83B43DDD5D85}" dt="2021-02-24T17:52:01.189" v="730" actId="20577"/>
        <pc:sldMkLst>
          <pc:docMk/>
          <pc:sldMk cId="3770467369" sldId="777"/>
        </pc:sldMkLst>
        <pc:spChg chg="mod">
          <ac:chgData name="christophe CHUECOS-FONT" userId="7e57acaa-4bc6-4644-8edc-0ecdded28594" providerId="ADAL" clId="{E0E3BE12-C07A-444A-8793-83B43DDD5D85}" dt="2021-02-24T17:47:45.118" v="587" actId="14100"/>
          <ac:spMkLst>
            <pc:docMk/>
            <pc:sldMk cId="3770467369" sldId="777"/>
            <ac:spMk id="2" creationId="{02517F6E-26E9-44E8-815E-774552D95FD0}"/>
          </ac:spMkLst>
        </pc:spChg>
        <pc:spChg chg="mod ord">
          <ac:chgData name="christophe CHUECOS-FONT" userId="7e57acaa-4bc6-4644-8edc-0ecdded28594" providerId="ADAL" clId="{E0E3BE12-C07A-444A-8793-83B43DDD5D85}" dt="2021-02-24T17:52:01.189" v="730" actId="20577"/>
          <ac:spMkLst>
            <pc:docMk/>
            <pc:sldMk cId="3770467369" sldId="777"/>
            <ac:spMk id="5" creationId="{DFEA2082-E7DE-4453-8158-54F380B94285}"/>
          </ac:spMkLst>
        </pc:spChg>
        <pc:spChg chg="del">
          <ac:chgData name="christophe CHUECOS-FONT" userId="7e57acaa-4bc6-4644-8edc-0ecdded28594" providerId="ADAL" clId="{E0E3BE12-C07A-444A-8793-83B43DDD5D85}" dt="2021-02-24T17:47:18.131" v="581" actId="26606"/>
          <ac:spMkLst>
            <pc:docMk/>
            <pc:sldMk cId="3770467369" sldId="777"/>
            <ac:spMk id="77" creationId="{8537B233-9CDD-4A90-AABB-A8963DEE4FBC}"/>
          </ac:spMkLst>
        </pc:spChg>
        <pc:spChg chg="add">
          <ac:chgData name="christophe CHUECOS-FONT" userId="7e57acaa-4bc6-4644-8edc-0ecdded28594" providerId="ADAL" clId="{E0E3BE12-C07A-444A-8793-83B43DDD5D85}" dt="2021-02-24T17:47:18.131" v="581" actId="26606"/>
          <ac:spMkLst>
            <pc:docMk/>
            <pc:sldMk cId="3770467369" sldId="777"/>
            <ac:spMk id="84" creationId="{F13C74B1-5B17-4795-BED0-7140497B445A}"/>
          </ac:spMkLst>
        </pc:spChg>
        <pc:spChg chg="add">
          <ac:chgData name="christophe CHUECOS-FONT" userId="7e57acaa-4bc6-4644-8edc-0ecdded28594" providerId="ADAL" clId="{E0E3BE12-C07A-444A-8793-83B43DDD5D85}" dt="2021-02-24T17:47:18.131" v="581" actId="26606"/>
          <ac:spMkLst>
            <pc:docMk/>
            <pc:sldMk cId="3770467369" sldId="777"/>
            <ac:spMk id="86" creationId="{D4974D33-8DC5-464E-8C6D-BE58F0669C17}"/>
          </ac:spMkLst>
        </pc:spChg>
        <pc:picChg chg="mod">
          <ac:chgData name="christophe CHUECOS-FONT" userId="7e57acaa-4bc6-4644-8edc-0ecdded28594" providerId="ADAL" clId="{E0E3BE12-C07A-444A-8793-83B43DDD5D85}" dt="2021-02-24T17:47:18.131" v="581" actId="26606"/>
          <ac:picMkLst>
            <pc:docMk/>
            <pc:sldMk cId="3770467369" sldId="777"/>
            <ac:picMk id="36" creationId="{FC9EF324-339C-4E46-9508-BF0C86AAC793}"/>
          </ac:picMkLst>
        </pc:picChg>
        <pc:cxnChg chg="del">
          <ac:chgData name="christophe CHUECOS-FONT" userId="7e57acaa-4bc6-4644-8edc-0ecdded28594" providerId="ADAL" clId="{E0E3BE12-C07A-444A-8793-83B43DDD5D85}" dt="2021-02-24T17:47:18.131" v="581" actId="26606"/>
          <ac:cxnSpMkLst>
            <pc:docMk/>
            <pc:sldMk cId="3770467369" sldId="777"/>
            <ac:cxnSpMk id="79" creationId="{040575EE-C594-4566-BC00-663004E52AB5}"/>
          </ac:cxnSpMkLst>
        </pc:cxnChg>
      </pc:sldChg>
      <pc:sldChg chg="modSp add mod">
        <pc:chgData name="christophe CHUECOS-FONT" userId="7e57acaa-4bc6-4644-8edc-0ecdded28594" providerId="ADAL" clId="{E0E3BE12-C07A-444A-8793-83B43DDD5D85}" dt="2021-02-24T17:51:12.254" v="694" actId="6549"/>
        <pc:sldMkLst>
          <pc:docMk/>
          <pc:sldMk cId="2365865540" sldId="778"/>
        </pc:sldMkLst>
        <pc:spChg chg="mod">
          <ac:chgData name="christophe CHUECOS-FONT" userId="7e57acaa-4bc6-4644-8edc-0ecdded28594" providerId="ADAL" clId="{E0E3BE12-C07A-444A-8793-83B43DDD5D85}" dt="2021-02-24T17:51:12.254" v="694" actId="6549"/>
          <ac:spMkLst>
            <pc:docMk/>
            <pc:sldMk cId="2365865540" sldId="778"/>
            <ac:spMk id="2" creationId="{EF4842FF-7B87-4819-9D9E-8FAB225F796F}"/>
          </ac:spMkLst>
        </pc:spChg>
        <pc:spChg chg="mod">
          <ac:chgData name="christophe CHUECOS-FONT" userId="7e57acaa-4bc6-4644-8edc-0ecdded28594" providerId="ADAL" clId="{E0E3BE12-C07A-444A-8793-83B43DDD5D85}" dt="2021-02-24T17:50:56.694" v="617" actId="27636"/>
          <ac:spMkLst>
            <pc:docMk/>
            <pc:sldMk cId="2365865540" sldId="778"/>
            <ac:spMk id="3" creationId="{AE031ED6-BBEB-4F69-BB03-35ED79344BB4}"/>
          </ac:spMkLst>
        </pc:spChg>
      </pc:sldChg>
      <pc:sldChg chg="modSp add mod ord">
        <pc:chgData name="christophe CHUECOS-FONT" userId="7e57acaa-4bc6-4644-8edc-0ecdded28594" providerId="ADAL" clId="{E0E3BE12-C07A-444A-8793-83B43DDD5D85}" dt="2021-02-24T17:51:41.804" v="700" actId="13926"/>
        <pc:sldMkLst>
          <pc:docMk/>
          <pc:sldMk cId="3945995144" sldId="779"/>
        </pc:sldMkLst>
        <pc:spChg chg="mod">
          <ac:chgData name="christophe CHUECOS-FONT" userId="7e57acaa-4bc6-4644-8edc-0ecdded28594" providerId="ADAL" clId="{E0E3BE12-C07A-444A-8793-83B43DDD5D85}" dt="2021-02-24T17:51:41.804" v="700" actId="13926"/>
          <ac:spMkLst>
            <pc:docMk/>
            <pc:sldMk cId="3945995144" sldId="779"/>
            <ac:spMk id="5" creationId="{DFEA2082-E7DE-4453-8158-54F380B94285}"/>
          </ac:spMkLst>
        </pc:spChg>
      </pc:sldChg>
      <pc:sldChg chg="modSp add mod ord">
        <pc:chgData name="christophe CHUECOS-FONT" userId="7e57acaa-4bc6-4644-8edc-0ecdded28594" providerId="ADAL" clId="{E0E3BE12-C07A-444A-8793-83B43DDD5D85}" dt="2021-02-24T17:54:52.352" v="775" actId="6549"/>
        <pc:sldMkLst>
          <pc:docMk/>
          <pc:sldMk cId="2156200813" sldId="780"/>
        </pc:sldMkLst>
        <pc:spChg chg="mod">
          <ac:chgData name="christophe CHUECOS-FONT" userId="7e57acaa-4bc6-4644-8edc-0ecdded28594" providerId="ADAL" clId="{E0E3BE12-C07A-444A-8793-83B43DDD5D85}" dt="2021-02-24T17:54:52.352" v="775" actId="6549"/>
          <ac:spMkLst>
            <pc:docMk/>
            <pc:sldMk cId="2156200813" sldId="780"/>
            <ac:spMk id="2" creationId="{EF4842FF-7B87-4819-9D9E-8FAB225F796F}"/>
          </ac:spMkLst>
        </pc:spChg>
        <pc:spChg chg="mod">
          <ac:chgData name="christophe CHUECOS-FONT" userId="7e57acaa-4bc6-4644-8edc-0ecdded28594" providerId="ADAL" clId="{E0E3BE12-C07A-444A-8793-83B43DDD5D85}" dt="2021-02-24T17:54:31.087" v="767" actId="27636"/>
          <ac:spMkLst>
            <pc:docMk/>
            <pc:sldMk cId="2156200813" sldId="780"/>
            <ac:spMk id="3" creationId="{AE031ED6-BBEB-4F69-BB03-35ED79344BB4}"/>
          </ac:spMkLst>
        </pc:spChg>
      </pc:sldChg>
      <pc:sldChg chg="modSp add mod">
        <pc:chgData name="christophe CHUECOS-FONT" userId="7e57acaa-4bc6-4644-8edc-0ecdded28594" providerId="ADAL" clId="{E0E3BE12-C07A-444A-8793-83B43DDD5D85}" dt="2021-02-26T07:32:45.441" v="969" actId="20577"/>
        <pc:sldMkLst>
          <pc:docMk/>
          <pc:sldMk cId="441897783" sldId="781"/>
        </pc:sldMkLst>
        <pc:spChg chg="mod">
          <ac:chgData name="christophe CHUECOS-FONT" userId="7e57acaa-4bc6-4644-8edc-0ecdded28594" providerId="ADAL" clId="{E0E3BE12-C07A-444A-8793-83B43DDD5D85}" dt="2021-02-26T07:32:45.441" v="969" actId="20577"/>
          <ac:spMkLst>
            <pc:docMk/>
            <pc:sldMk cId="441897783" sldId="781"/>
            <ac:spMk id="2" creationId="{EF4842FF-7B87-4819-9D9E-8FAB225F796F}"/>
          </ac:spMkLst>
        </pc:spChg>
        <pc:spChg chg="mod">
          <ac:chgData name="christophe CHUECOS-FONT" userId="7e57acaa-4bc6-4644-8edc-0ecdded28594" providerId="ADAL" clId="{E0E3BE12-C07A-444A-8793-83B43DDD5D85}" dt="2021-02-24T17:54:43.710" v="773" actId="5793"/>
          <ac:spMkLst>
            <pc:docMk/>
            <pc:sldMk cId="441897783" sldId="781"/>
            <ac:spMk id="3" creationId="{AE031ED6-BBEB-4F69-BB03-35ED79344BB4}"/>
          </ac:spMkLst>
        </pc:spChg>
      </pc:sldChg>
      <pc:sldChg chg="addSp delSp modSp add del mod ord setClrOvrMap">
        <pc:chgData name="christophe CHUECOS-FONT" userId="7e57acaa-4bc6-4644-8edc-0ecdded28594" providerId="ADAL" clId="{E0E3BE12-C07A-444A-8793-83B43DDD5D85}" dt="2021-02-26T07:41:24.490" v="1028" actId="47"/>
        <pc:sldMkLst>
          <pc:docMk/>
          <pc:sldMk cId="1506670677" sldId="782"/>
        </pc:sldMkLst>
        <pc:spChg chg="mod">
          <ac:chgData name="christophe CHUECOS-FONT" userId="7e57acaa-4bc6-4644-8edc-0ecdded28594" providerId="ADAL" clId="{E0E3BE12-C07A-444A-8793-83B43DDD5D85}" dt="2021-02-24T17:58:10.868" v="926" actId="26606"/>
          <ac:spMkLst>
            <pc:docMk/>
            <pc:sldMk cId="1506670677" sldId="782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E0E3BE12-C07A-444A-8793-83B43DDD5D85}" dt="2021-02-24T17:58:02.089" v="925" actId="6549"/>
          <ac:spMkLst>
            <pc:docMk/>
            <pc:sldMk cId="1506670677" sldId="782"/>
            <ac:spMk id="5" creationId="{DFEA2082-E7DE-4453-8158-54F380B94285}"/>
          </ac:spMkLst>
        </pc:spChg>
        <pc:spChg chg="del">
          <ac:chgData name="christophe CHUECOS-FONT" userId="7e57acaa-4bc6-4644-8edc-0ecdded28594" providerId="ADAL" clId="{E0E3BE12-C07A-444A-8793-83B43DDD5D85}" dt="2021-02-24T17:58:10.868" v="926" actId="26606"/>
          <ac:spMkLst>
            <pc:docMk/>
            <pc:sldMk cId="1506670677" sldId="782"/>
            <ac:spMk id="84" creationId="{F13C74B1-5B17-4795-BED0-7140497B445A}"/>
          </ac:spMkLst>
        </pc:spChg>
        <pc:spChg chg="del">
          <ac:chgData name="christophe CHUECOS-FONT" userId="7e57acaa-4bc6-4644-8edc-0ecdded28594" providerId="ADAL" clId="{E0E3BE12-C07A-444A-8793-83B43DDD5D85}" dt="2021-02-24T17:58:10.868" v="926" actId="26606"/>
          <ac:spMkLst>
            <pc:docMk/>
            <pc:sldMk cId="1506670677" sldId="782"/>
            <ac:spMk id="86" creationId="{D4974D33-8DC5-464E-8C6D-BE58F0669C17}"/>
          </ac:spMkLst>
        </pc:spChg>
        <pc:spChg chg="add">
          <ac:chgData name="christophe CHUECOS-FONT" userId="7e57acaa-4bc6-4644-8edc-0ecdded28594" providerId="ADAL" clId="{E0E3BE12-C07A-444A-8793-83B43DDD5D85}" dt="2021-02-24T17:58:10.868" v="926" actId="26606"/>
          <ac:spMkLst>
            <pc:docMk/>
            <pc:sldMk cId="1506670677" sldId="782"/>
            <ac:spMk id="91" creationId="{526E0BFB-CDF1-4990-8C11-AC849311E0A8}"/>
          </ac:spMkLst>
        </pc:spChg>
        <pc:spChg chg="add">
          <ac:chgData name="christophe CHUECOS-FONT" userId="7e57acaa-4bc6-4644-8edc-0ecdded28594" providerId="ADAL" clId="{E0E3BE12-C07A-444A-8793-83B43DDD5D85}" dt="2021-02-24T17:58:10.868" v="926" actId="26606"/>
          <ac:spMkLst>
            <pc:docMk/>
            <pc:sldMk cId="1506670677" sldId="782"/>
            <ac:spMk id="93" creationId="{6069A1F8-9BEB-4786-9694-FC48B2D75D21}"/>
          </ac:spMkLst>
        </pc:spChg>
        <pc:spChg chg="add">
          <ac:chgData name="christophe CHUECOS-FONT" userId="7e57acaa-4bc6-4644-8edc-0ecdded28594" providerId="ADAL" clId="{E0E3BE12-C07A-444A-8793-83B43DDD5D85}" dt="2021-02-24T17:58:10.868" v="926" actId="26606"/>
          <ac:spMkLst>
            <pc:docMk/>
            <pc:sldMk cId="1506670677" sldId="782"/>
            <ac:spMk id="95" creationId="{AF2F604E-43BE-4DC3-B983-E071523364F8}"/>
          </ac:spMkLst>
        </pc:spChg>
        <pc:spChg chg="add">
          <ac:chgData name="christophe CHUECOS-FONT" userId="7e57acaa-4bc6-4644-8edc-0ecdded28594" providerId="ADAL" clId="{E0E3BE12-C07A-444A-8793-83B43DDD5D85}" dt="2021-02-24T17:58:10.868" v="926" actId="26606"/>
          <ac:spMkLst>
            <pc:docMk/>
            <pc:sldMk cId="1506670677" sldId="782"/>
            <ac:spMk id="97" creationId="{08C9B587-E65E-4B52-B37C-ABEBB6E87928}"/>
          </ac:spMkLst>
        </pc:spChg>
        <pc:picChg chg="mod ord">
          <ac:chgData name="christophe CHUECOS-FONT" userId="7e57acaa-4bc6-4644-8edc-0ecdded28594" providerId="ADAL" clId="{E0E3BE12-C07A-444A-8793-83B43DDD5D85}" dt="2021-02-24T17:58:10.868" v="926" actId="26606"/>
          <ac:picMkLst>
            <pc:docMk/>
            <pc:sldMk cId="1506670677" sldId="782"/>
            <ac:picMk id="36" creationId="{FC9EF324-339C-4E46-9508-BF0C86AAC793}"/>
          </ac:picMkLst>
        </pc:picChg>
      </pc:sldChg>
      <pc:sldChg chg="modSp add mod ord">
        <pc:chgData name="christophe CHUECOS-FONT" userId="7e57acaa-4bc6-4644-8edc-0ecdded28594" providerId="ADAL" clId="{E0E3BE12-C07A-444A-8793-83B43DDD5D85}" dt="2021-02-26T07:40:45.219" v="994" actId="20577"/>
        <pc:sldMkLst>
          <pc:docMk/>
          <pc:sldMk cId="1728658405" sldId="783"/>
        </pc:sldMkLst>
        <pc:spChg chg="mod">
          <ac:chgData name="christophe CHUECOS-FONT" userId="7e57acaa-4bc6-4644-8edc-0ecdded28594" providerId="ADAL" clId="{E0E3BE12-C07A-444A-8793-83B43DDD5D85}" dt="2021-02-26T07:40:45.219" v="994" actId="20577"/>
          <ac:spMkLst>
            <pc:docMk/>
            <pc:sldMk cId="1728658405" sldId="783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E0E3BE12-C07A-444A-8793-83B43DDD5D85}" dt="2021-02-26T07:40:33.209" v="973" actId="27636"/>
          <ac:spMkLst>
            <pc:docMk/>
            <pc:sldMk cId="1728658405" sldId="783"/>
            <ac:spMk id="10" creationId="{2104DD9E-7F53-465D-8561-41BB61362ACA}"/>
          </ac:spMkLst>
        </pc:spChg>
      </pc:sldChg>
      <pc:sldChg chg="modSp add mod">
        <pc:chgData name="christophe CHUECOS-FONT" userId="7e57acaa-4bc6-4644-8edc-0ecdded28594" providerId="ADAL" clId="{E0E3BE12-C07A-444A-8793-83B43DDD5D85}" dt="2021-02-26T07:41:16.916" v="1027" actId="20577"/>
        <pc:sldMkLst>
          <pc:docMk/>
          <pc:sldMk cId="1708826299" sldId="784"/>
        </pc:sldMkLst>
        <pc:spChg chg="mod">
          <ac:chgData name="christophe CHUECOS-FONT" userId="7e57acaa-4bc6-4644-8edc-0ecdded28594" providerId="ADAL" clId="{E0E3BE12-C07A-444A-8793-83B43DDD5D85}" dt="2021-02-26T07:41:16.916" v="1027" actId="20577"/>
          <ac:spMkLst>
            <pc:docMk/>
            <pc:sldMk cId="1708826299" sldId="784"/>
            <ac:spMk id="2" creationId="{02517F6E-26E9-44E8-815E-774552D95FD0}"/>
          </ac:spMkLst>
        </pc:spChg>
      </pc:sldChg>
      <pc:sldChg chg="delSp modSp add mod">
        <pc:chgData name="christophe CHUECOS-FONT" userId="7e57acaa-4bc6-4644-8edc-0ecdded28594" providerId="ADAL" clId="{E0E3BE12-C07A-444A-8793-83B43DDD5D85}" dt="2021-02-26T07:43:30.145" v="1041" actId="27636"/>
        <pc:sldMkLst>
          <pc:docMk/>
          <pc:sldMk cId="718493941" sldId="785"/>
        </pc:sldMkLst>
        <pc:spChg chg="del">
          <ac:chgData name="christophe CHUECOS-FONT" userId="7e57acaa-4bc6-4644-8edc-0ecdded28594" providerId="ADAL" clId="{E0E3BE12-C07A-444A-8793-83B43DDD5D85}" dt="2021-02-26T07:43:20.996" v="1039" actId="21"/>
          <ac:spMkLst>
            <pc:docMk/>
            <pc:sldMk cId="718493941" sldId="785"/>
            <ac:spMk id="4" creationId="{B907A768-CC25-4A4B-8C93-DA72B4C4D5E3}"/>
          </ac:spMkLst>
        </pc:spChg>
        <pc:spChg chg="mod">
          <ac:chgData name="christophe CHUECOS-FONT" userId="7e57acaa-4bc6-4644-8edc-0ecdded28594" providerId="ADAL" clId="{E0E3BE12-C07A-444A-8793-83B43DDD5D85}" dt="2021-02-26T07:43:30.145" v="1041" actId="27636"/>
          <ac:spMkLst>
            <pc:docMk/>
            <pc:sldMk cId="718493941" sldId="785"/>
            <ac:spMk id="10" creationId="{2104DD9E-7F53-465D-8561-41BB61362ACA}"/>
          </ac:spMkLst>
        </pc:spChg>
      </pc:sldChg>
      <pc:sldChg chg="new del">
        <pc:chgData name="christophe CHUECOS-FONT" userId="7e57acaa-4bc6-4644-8edc-0ecdded28594" providerId="ADAL" clId="{E0E3BE12-C07A-444A-8793-83B43DDD5D85}" dt="2021-02-26T07:42:50.993" v="1034" actId="47"/>
        <pc:sldMkLst>
          <pc:docMk/>
          <pc:sldMk cId="991876331" sldId="786"/>
        </pc:sldMkLst>
      </pc:sldChg>
      <pc:sldChg chg="modSp add mod ord">
        <pc:chgData name="christophe CHUECOS-FONT" userId="7e57acaa-4bc6-4644-8edc-0ecdded28594" providerId="ADAL" clId="{E0E3BE12-C07A-444A-8793-83B43DDD5D85}" dt="2021-02-26T07:48:40.864" v="1138"/>
        <pc:sldMkLst>
          <pc:docMk/>
          <pc:sldMk cId="1217582069" sldId="786"/>
        </pc:sldMkLst>
        <pc:spChg chg="mod">
          <ac:chgData name="christophe CHUECOS-FONT" userId="7e57acaa-4bc6-4644-8edc-0ecdded28594" providerId="ADAL" clId="{E0E3BE12-C07A-444A-8793-83B43DDD5D85}" dt="2021-02-26T07:44:18.737" v="1106" actId="27636"/>
          <ac:spMkLst>
            <pc:docMk/>
            <pc:sldMk cId="1217582069" sldId="786"/>
            <ac:spMk id="2" creationId="{55455007-8AF7-4CFF-8B0D-381E697B6724}"/>
          </ac:spMkLst>
        </pc:spChg>
        <pc:graphicFrameChg chg="mod">
          <ac:chgData name="christophe CHUECOS-FONT" userId="7e57acaa-4bc6-4644-8edc-0ecdded28594" providerId="ADAL" clId="{E0E3BE12-C07A-444A-8793-83B43DDD5D85}" dt="2021-02-26T07:48:40.864" v="1138"/>
          <ac:graphicFrameMkLst>
            <pc:docMk/>
            <pc:sldMk cId="1217582069" sldId="786"/>
            <ac:graphicFrameMk id="5" creationId="{0C899C7D-CFDA-4D32-B2E9-07B40C3BB1B2}"/>
          </ac:graphicFrameMkLst>
        </pc:graphicFrameChg>
      </pc:sldChg>
      <pc:sldChg chg="modSp add mod">
        <pc:chgData name="christophe CHUECOS-FONT" userId="7e57acaa-4bc6-4644-8edc-0ecdded28594" providerId="ADAL" clId="{E0E3BE12-C07A-444A-8793-83B43DDD5D85}" dt="2021-02-26T07:54:16.343" v="1243" actId="5793"/>
        <pc:sldMkLst>
          <pc:docMk/>
          <pc:sldMk cId="3455780624" sldId="787"/>
        </pc:sldMkLst>
        <pc:spChg chg="mod">
          <ac:chgData name="christophe CHUECOS-FONT" userId="7e57acaa-4bc6-4644-8edc-0ecdded28594" providerId="ADAL" clId="{E0E3BE12-C07A-444A-8793-83B43DDD5D85}" dt="2021-02-26T07:52:36.874" v="1208" actId="20577"/>
          <ac:spMkLst>
            <pc:docMk/>
            <pc:sldMk cId="3455780624" sldId="787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E0E3BE12-C07A-444A-8793-83B43DDD5D85}" dt="2021-02-26T07:54:16.343" v="1243" actId="5793"/>
          <ac:spMkLst>
            <pc:docMk/>
            <pc:sldMk cId="3455780624" sldId="787"/>
            <ac:spMk id="10" creationId="{2104DD9E-7F53-465D-8561-41BB61362ACA}"/>
          </ac:spMkLst>
        </pc:spChg>
      </pc:sldChg>
      <pc:sldChg chg="modSp add mod">
        <pc:chgData name="christophe CHUECOS-FONT" userId="7e57acaa-4bc6-4644-8edc-0ecdded28594" providerId="ADAL" clId="{E0E3BE12-C07A-444A-8793-83B43DDD5D85}" dt="2021-02-26T07:56:49.744" v="1481" actId="27636"/>
        <pc:sldMkLst>
          <pc:docMk/>
          <pc:sldMk cId="211972868" sldId="788"/>
        </pc:sldMkLst>
        <pc:spChg chg="mod">
          <ac:chgData name="christophe CHUECOS-FONT" userId="7e57acaa-4bc6-4644-8edc-0ecdded28594" providerId="ADAL" clId="{E0E3BE12-C07A-444A-8793-83B43DDD5D85}" dt="2021-02-26T07:54:45.342" v="1267" actId="20577"/>
          <ac:spMkLst>
            <pc:docMk/>
            <pc:sldMk cId="211972868" sldId="788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E0E3BE12-C07A-444A-8793-83B43DDD5D85}" dt="2021-02-26T07:56:49.744" v="1481" actId="27636"/>
          <ac:spMkLst>
            <pc:docMk/>
            <pc:sldMk cId="211972868" sldId="788"/>
            <ac:spMk id="10" creationId="{2104DD9E-7F53-465D-8561-41BB61362ACA}"/>
          </ac:spMkLst>
        </pc:spChg>
      </pc:sldChg>
      <pc:sldChg chg="modSp add mod">
        <pc:chgData name="christophe CHUECOS-FONT" userId="7e57acaa-4bc6-4644-8edc-0ecdded28594" providerId="ADAL" clId="{E0E3BE12-C07A-444A-8793-83B43DDD5D85}" dt="2021-02-26T07:59:20.833" v="1586" actId="20577"/>
        <pc:sldMkLst>
          <pc:docMk/>
          <pc:sldMk cId="2485451293" sldId="789"/>
        </pc:sldMkLst>
        <pc:spChg chg="mod">
          <ac:chgData name="christophe CHUECOS-FONT" userId="7e57acaa-4bc6-4644-8edc-0ecdded28594" providerId="ADAL" clId="{E0E3BE12-C07A-444A-8793-83B43DDD5D85}" dt="2021-02-26T07:59:12.801" v="1568" actId="6549"/>
          <ac:spMkLst>
            <pc:docMk/>
            <pc:sldMk cId="2485451293" sldId="789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E0E3BE12-C07A-444A-8793-83B43DDD5D85}" dt="2021-02-26T07:59:20.833" v="1586" actId="20577"/>
          <ac:spMkLst>
            <pc:docMk/>
            <pc:sldMk cId="2485451293" sldId="789"/>
            <ac:spMk id="10" creationId="{2104DD9E-7F53-465D-8561-41BB61362ACA}"/>
          </ac:spMkLst>
        </pc:spChg>
      </pc:sldChg>
      <pc:sldChg chg="addSp modSp add del mod ord">
        <pc:chgData name="christophe CHUECOS-FONT" userId="7e57acaa-4bc6-4644-8edc-0ecdded28594" providerId="ADAL" clId="{E0E3BE12-C07A-444A-8793-83B43DDD5D85}" dt="2021-02-26T08:08:07.458" v="1711" actId="47"/>
        <pc:sldMkLst>
          <pc:docMk/>
          <pc:sldMk cId="933705290" sldId="790"/>
        </pc:sldMkLst>
        <pc:spChg chg="mod">
          <ac:chgData name="christophe CHUECOS-FONT" userId="7e57acaa-4bc6-4644-8edc-0ecdded28594" providerId="ADAL" clId="{E0E3BE12-C07A-444A-8793-83B43DDD5D85}" dt="2021-02-26T08:00:05.162" v="1604" actId="20577"/>
          <ac:spMkLst>
            <pc:docMk/>
            <pc:sldMk cId="933705290" sldId="790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E0E3BE12-C07A-444A-8793-83B43DDD5D85}" dt="2021-02-26T08:00:11.620" v="1605" actId="6549"/>
          <ac:spMkLst>
            <pc:docMk/>
            <pc:sldMk cId="933705290" sldId="790"/>
            <ac:spMk id="5" creationId="{DFEA2082-E7DE-4453-8158-54F380B94285}"/>
          </ac:spMkLst>
        </pc:spChg>
        <pc:graphicFrameChg chg="add modGraphic">
          <ac:chgData name="christophe CHUECOS-FONT" userId="7e57acaa-4bc6-4644-8edc-0ecdded28594" providerId="ADAL" clId="{E0E3BE12-C07A-444A-8793-83B43DDD5D85}" dt="2021-02-26T08:05:00.217" v="1616" actId="1032"/>
          <ac:graphicFrameMkLst>
            <pc:docMk/>
            <pc:sldMk cId="933705290" sldId="790"/>
            <ac:graphicFrameMk id="3" creationId="{3122202F-3289-4751-AA91-C478B7D7FA38}"/>
          </ac:graphicFrameMkLst>
        </pc:graphicFrameChg>
      </pc:sldChg>
      <pc:sldChg chg="add">
        <pc:chgData name="christophe CHUECOS-FONT" userId="7e57acaa-4bc6-4644-8edc-0ecdded28594" providerId="ADAL" clId="{E0E3BE12-C07A-444A-8793-83B43DDD5D85}" dt="2021-02-26T08:05:30.919" v="1619" actId="2890"/>
        <pc:sldMkLst>
          <pc:docMk/>
          <pc:sldMk cId="1394971565" sldId="791"/>
        </pc:sldMkLst>
      </pc:sldChg>
      <pc:sldChg chg="new del">
        <pc:chgData name="christophe CHUECOS-FONT" userId="7e57acaa-4bc6-4644-8edc-0ecdded28594" providerId="ADAL" clId="{E0E3BE12-C07A-444A-8793-83B43DDD5D85}" dt="2021-02-26T08:05:18.752" v="1618" actId="47"/>
        <pc:sldMkLst>
          <pc:docMk/>
          <pc:sldMk cId="2294928137" sldId="791"/>
        </pc:sldMkLst>
      </pc:sldChg>
      <pc:sldChg chg="addSp delSp modSp add mod">
        <pc:chgData name="christophe CHUECOS-FONT" userId="7e57acaa-4bc6-4644-8edc-0ecdded28594" providerId="ADAL" clId="{E0E3BE12-C07A-444A-8793-83B43DDD5D85}" dt="2021-02-26T08:09:52.588" v="1764" actId="20577"/>
        <pc:sldMkLst>
          <pc:docMk/>
          <pc:sldMk cId="3327528291" sldId="792"/>
        </pc:sldMkLst>
        <pc:spChg chg="mod">
          <ac:chgData name="christophe CHUECOS-FONT" userId="7e57acaa-4bc6-4644-8edc-0ecdded28594" providerId="ADAL" clId="{E0E3BE12-C07A-444A-8793-83B43DDD5D85}" dt="2021-02-26T08:09:52.588" v="1764" actId="20577"/>
          <ac:spMkLst>
            <pc:docMk/>
            <pc:sldMk cId="3327528291" sldId="792"/>
            <ac:spMk id="2" creationId="{02517F6E-26E9-44E8-815E-774552D95FD0}"/>
          </ac:spMkLst>
        </pc:spChg>
        <pc:spChg chg="del">
          <ac:chgData name="christophe CHUECOS-FONT" userId="7e57acaa-4bc6-4644-8edc-0ecdded28594" providerId="ADAL" clId="{E0E3BE12-C07A-444A-8793-83B43DDD5D85}" dt="2021-02-26T08:09:19.309" v="1736" actId="26606"/>
          <ac:spMkLst>
            <pc:docMk/>
            <pc:sldMk cId="3327528291" sldId="792"/>
            <ac:spMk id="95" creationId="{7D144591-E9E9-4209-8701-3BB48A917D51}"/>
          </ac:spMkLst>
        </pc:spChg>
        <pc:spChg chg="add">
          <ac:chgData name="christophe CHUECOS-FONT" userId="7e57acaa-4bc6-4644-8edc-0ecdded28594" providerId="ADAL" clId="{E0E3BE12-C07A-444A-8793-83B43DDD5D85}" dt="2021-02-26T08:09:19.309" v="1736" actId="26606"/>
          <ac:spMkLst>
            <pc:docMk/>
            <pc:sldMk cId="3327528291" sldId="792"/>
            <ac:spMk id="100" creationId="{53B021B3-DE93-4AB7-8A18-CF5F1CED88B8}"/>
          </ac:spMkLst>
        </pc:spChg>
        <pc:spChg chg="add">
          <ac:chgData name="christophe CHUECOS-FONT" userId="7e57acaa-4bc6-4644-8edc-0ecdded28594" providerId="ADAL" clId="{E0E3BE12-C07A-444A-8793-83B43DDD5D85}" dt="2021-02-26T08:09:19.309" v="1736" actId="26606"/>
          <ac:spMkLst>
            <pc:docMk/>
            <pc:sldMk cId="3327528291" sldId="792"/>
            <ac:spMk id="102" creationId="{52D502E5-F6B4-4D58-B4AE-FC466FF15EE8}"/>
          </ac:spMkLst>
        </pc:spChg>
        <pc:spChg chg="add">
          <ac:chgData name="christophe CHUECOS-FONT" userId="7e57acaa-4bc6-4644-8edc-0ecdded28594" providerId="ADAL" clId="{E0E3BE12-C07A-444A-8793-83B43DDD5D85}" dt="2021-02-26T08:09:19.309" v="1736" actId="26606"/>
          <ac:spMkLst>
            <pc:docMk/>
            <pc:sldMk cId="3327528291" sldId="792"/>
            <ac:spMk id="104" creationId="{9DECDBF4-02B6-4BB4-B65B-B8107AD6A9E8}"/>
          </ac:spMkLst>
        </pc:spChg>
        <pc:graphicFrameChg chg="mod modGraphic">
          <ac:chgData name="christophe CHUECOS-FONT" userId="7e57acaa-4bc6-4644-8edc-0ecdded28594" providerId="ADAL" clId="{E0E3BE12-C07A-444A-8793-83B43DDD5D85}" dt="2021-02-26T08:09:19.309" v="1736" actId="26606"/>
          <ac:graphicFrameMkLst>
            <pc:docMk/>
            <pc:sldMk cId="3327528291" sldId="792"/>
            <ac:graphicFrameMk id="3" creationId="{EB47E2AE-56E8-4C2F-9AC1-214629840D45}"/>
          </ac:graphicFrameMkLst>
        </pc:graphicFrameChg>
      </pc:sldChg>
      <pc:sldChg chg="addSp delSp modSp add mod">
        <pc:chgData name="christophe CHUECOS-FONT" userId="7e57acaa-4bc6-4644-8edc-0ecdded28594" providerId="ADAL" clId="{E0E3BE12-C07A-444A-8793-83B43DDD5D85}" dt="2021-02-26T08:26:05.291" v="2554" actId="14100"/>
        <pc:sldMkLst>
          <pc:docMk/>
          <pc:sldMk cId="2165141887" sldId="793"/>
        </pc:sldMkLst>
        <pc:spChg chg="mod ord">
          <ac:chgData name="christophe CHUECOS-FONT" userId="7e57acaa-4bc6-4644-8edc-0ecdded28594" providerId="ADAL" clId="{E0E3BE12-C07A-444A-8793-83B43DDD5D85}" dt="2021-02-26T08:25:55.974" v="2553" actId="26606"/>
          <ac:spMkLst>
            <pc:docMk/>
            <pc:sldMk cId="2165141887" sldId="793"/>
            <ac:spMk id="2" creationId="{00000000-0000-0000-0000-000000000000}"/>
          </ac:spMkLst>
        </pc:spChg>
        <pc:spChg chg="add mod">
          <ac:chgData name="christophe CHUECOS-FONT" userId="7e57acaa-4bc6-4644-8edc-0ecdded28594" providerId="ADAL" clId="{E0E3BE12-C07A-444A-8793-83B43DDD5D85}" dt="2021-02-26T08:26:05.291" v="2554" actId="14100"/>
          <ac:spMkLst>
            <pc:docMk/>
            <pc:sldMk cId="2165141887" sldId="793"/>
            <ac:spMk id="3" creationId="{060668A1-F703-43F0-AA81-AEEE6C0B4942}"/>
          </ac:spMkLst>
        </pc:spChg>
        <pc:graphicFrameChg chg="del mod">
          <ac:chgData name="christophe CHUECOS-FONT" userId="7e57acaa-4bc6-4644-8edc-0ecdded28594" providerId="ADAL" clId="{E0E3BE12-C07A-444A-8793-83B43DDD5D85}" dt="2021-02-26T08:19:53.183" v="2110" actId="478"/>
          <ac:graphicFrameMkLst>
            <pc:docMk/>
            <pc:sldMk cId="2165141887" sldId="793"/>
            <ac:graphicFrameMk id="18" creationId="{617CF2FB-A56B-4819-897B-4183F10C8A27}"/>
          </ac:graphicFrameMkLst>
        </pc:graphicFrameChg>
        <pc:picChg chg="mod">
          <ac:chgData name="christophe CHUECOS-FONT" userId="7e57acaa-4bc6-4644-8edc-0ecdded28594" providerId="ADAL" clId="{E0E3BE12-C07A-444A-8793-83B43DDD5D85}" dt="2021-02-26T08:25:55.974" v="2553" actId="26606"/>
          <ac:picMkLst>
            <pc:docMk/>
            <pc:sldMk cId="2165141887" sldId="793"/>
            <ac:picMk id="12" creationId="{1FD79E4A-E80D-4BA5-BEA9-44F693117FDC}"/>
          </ac:picMkLst>
        </pc:picChg>
        <pc:picChg chg="add">
          <ac:chgData name="christophe CHUECOS-FONT" userId="7e57acaa-4bc6-4644-8edc-0ecdded28594" providerId="ADAL" clId="{E0E3BE12-C07A-444A-8793-83B43DDD5D85}" dt="2021-02-26T08:25:55.974" v="2553" actId="26606"/>
          <ac:picMkLst>
            <pc:docMk/>
            <pc:sldMk cId="2165141887" sldId="793"/>
            <ac:picMk id="21" creationId="{54DDEBDD-D8BD-41A6-8A0D-B00E3768B0F9}"/>
          </ac:picMkLst>
        </pc:picChg>
        <pc:cxnChg chg="del">
          <ac:chgData name="christophe CHUECOS-FONT" userId="7e57acaa-4bc6-4644-8edc-0ecdded28594" providerId="ADAL" clId="{E0E3BE12-C07A-444A-8793-83B43DDD5D85}" dt="2021-02-26T08:25:55.974" v="2553" actId="26606"/>
          <ac:cxnSpMkLst>
            <pc:docMk/>
            <pc:sldMk cId="2165141887" sldId="793"/>
            <ac:cxnSpMk id="16" creationId="{A7F400EE-A8A5-48AF-B4D6-291B52C6F0B0}"/>
          </ac:cxnSpMkLst>
        </pc:cxnChg>
      </pc:sldChg>
      <pc:sldChg chg="addSp delSp modSp add del mod ord setBg setClrOvrMap">
        <pc:chgData name="christophe CHUECOS-FONT" userId="7e57acaa-4bc6-4644-8edc-0ecdded28594" providerId="ADAL" clId="{E0E3BE12-C07A-444A-8793-83B43DDD5D85}" dt="2021-02-26T13:03:42.821" v="2895" actId="47"/>
        <pc:sldMkLst>
          <pc:docMk/>
          <pc:sldMk cId="1508637551" sldId="794"/>
        </pc:sldMkLst>
        <pc:spChg chg="mod">
          <ac:chgData name="christophe CHUECOS-FONT" userId="7e57acaa-4bc6-4644-8edc-0ecdded28594" providerId="ADAL" clId="{E0E3BE12-C07A-444A-8793-83B43DDD5D85}" dt="2021-02-26T12:57:59.351" v="2816" actId="26606"/>
          <ac:spMkLst>
            <pc:docMk/>
            <pc:sldMk cId="1508637551" sldId="794"/>
            <ac:spMk id="2" creationId="{232A2D28-A06C-48FD-ABB4-EB7E27B84308}"/>
          </ac:spMkLst>
        </pc:spChg>
        <pc:spChg chg="del">
          <ac:chgData name="christophe CHUECOS-FONT" userId="7e57acaa-4bc6-4644-8edc-0ecdded28594" providerId="ADAL" clId="{E0E3BE12-C07A-444A-8793-83B43DDD5D85}" dt="2021-02-26T12:57:59.351" v="2816" actId="26606"/>
          <ac:spMkLst>
            <pc:docMk/>
            <pc:sldMk cId="1508637551" sldId="794"/>
            <ac:spMk id="11" creationId="{982413CC-69E6-4BDA-A88D-E4EF8F95B27D}"/>
          </ac:spMkLst>
        </pc:spChg>
        <pc:spChg chg="add">
          <ac:chgData name="christophe CHUECOS-FONT" userId="7e57acaa-4bc6-4644-8edc-0ecdded28594" providerId="ADAL" clId="{E0E3BE12-C07A-444A-8793-83B43DDD5D85}" dt="2021-02-26T12:57:59.351" v="2816" actId="26606"/>
          <ac:spMkLst>
            <pc:docMk/>
            <pc:sldMk cId="1508637551" sldId="794"/>
            <ac:spMk id="39" creationId="{E8F175C6-C15F-4DB0-8423-A1EF4AADC813}"/>
          </ac:spMkLst>
        </pc:spChg>
        <pc:grpChg chg="del">
          <ac:chgData name="christophe CHUECOS-FONT" userId="7e57acaa-4bc6-4644-8edc-0ecdded28594" providerId="ADAL" clId="{E0E3BE12-C07A-444A-8793-83B43DDD5D85}" dt="2021-02-26T12:57:59.351" v="2816" actId="26606"/>
          <ac:grpSpMkLst>
            <pc:docMk/>
            <pc:sldMk cId="1508637551" sldId="794"/>
            <ac:grpSpMk id="13" creationId="{4F1F7357-8633-4CE7-BF80-475EE8A2FAEA}"/>
          </ac:grpSpMkLst>
        </pc:grpChg>
        <pc:graphicFrameChg chg="mod ord modGraphic">
          <ac:chgData name="christophe CHUECOS-FONT" userId="7e57acaa-4bc6-4644-8edc-0ecdded28594" providerId="ADAL" clId="{E0E3BE12-C07A-444A-8793-83B43DDD5D85}" dt="2021-02-26T12:58:24.039" v="2820" actId="1076"/>
          <ac:graphicFrameMkLst>
            <pc:docMk/>
            <pc:sldMk cId="1508637551" sldId="794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E0E3BE12-C07A-444A-8793-83B43DDD5D85}" dt="2021-02-26T13:03:22.927" v="2894" actId="14100"/>
        <pc:sldMkLst>
          <pc:docMk/>
          <pc:sldMk cId="348824562" sldId="795"/>
        </pc:sldMkLst>
        <pc:spChg chg="mod">
          <ac:chgData name="christophe CHUECOS-FONT" userId="7e57acaa-4bc6-4644-8edc-0ecdded28594" providerId="ADAL" clId="{E0E3BE12-C07A-444A-8793-83B43DDD5D85}" dt="2021-02-26T13:03:16.439" v="2893" actId="14100"/>
          <ac:spMkLst>
            <pc:docMk/>
            <pc:sldMk cId="348824562" sldId="795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E0E3BE12-C07A-444A-8793-83B43DDD5D85}" dt="2021-02-26T13:03:22.927" v="2894" actId="14100"/>
          <ac:graphicFrameMkLst>
            <pc:docMk/>
            <pc:sldMk cId="348824562" sldId="795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E0E3BE12-C07A-444A-8793-83B43DDD5D85}" dt="2021-02-26T13:07:02.620" v="3107" actId="313"/>
        <pc:sldMkLst>
          <pc:docMk/>
          <pc:sldMk cId="2744456229" sldId="796"/>
        </pc:sldMkLst>
        <pc:spChg chg="mod">
          <ac:chgData name="christophe CHUECOS-FONT" userId="7e57acaa-4bc6-4644-8edc-0ecdded28594" providerId="ADAL" clId="{E0E3BE12-C07A-444A-8793-83B43DDD5D85}" dt="2021-02-26T13:07:02.620" v="3107" actId="313"/>
          <ac:spMkLst>
            <pc:docMk/>
            <pc:sldMk cId="2744456229" sldId="796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E0E3BE12-C07A-444A-8793-83B43DDD5D85}" dt="2021-02-26T13:06:50.925" v="3103" actId="20577"/>
          <ac:graphicFrameMkLst>
            <pc:docMk/>
            <pc:sldMk cId="2744456229" sldId="796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E0E3BE12-C07A-444A-8793-83B43DDD5D85}" dt="2021-02-26T13:17:18.275" v="3363" actId="20577"/>
        <pc:sldMkLst>
          <pc:docMk/>
          <pc:sldMk cId="1270884533" sldId="797"/>
        </pc:sldMkLst>
        <pc:spChg chg="mod">
          <ac:chgData name="christophe CHUECOS-FONT" userId="7e57acaa-4bc6-4644-8edc-0ecdded28594" providerId="ADAL" clId="{E0E3BE12-C07A-444A-8793-83B43DDD5D85}" dt="2021-02-26T13:17:13.424" v="3362" actId="6549"/>
          <ac:spMkLst>
            <pc:docMk/>
            <pc:sldMk cId="1270884533" sldId="797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E0E3BE12-C07A-444A-8793-83B43DDD5D85}" dt="2021-02-26T13:17:18.275" v="3363" actId="20577"/>
          <ac:graphicFrameMkLst>
            <pc:docMk/>
            <pc:sldMk cId="1270884533" sldId="797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E0E3BE12-C07A-444A-8793-83B43DDD5D85}" dt="2021-02-26T13:17:51.751" v="3388" actId="20577"/>
        <pc:sldMkLst>
          <pc:docMk/>
          <pc:sldMk cId="1165143180" sldId="798"/>
        </pc:sldMkLst>
        <pc:spChg chg="mod">
          <ac:chgData name="christophe CHUECOS-FONT" userId="7e57acaa-4bc6-4644-8edc-0ecdded28594" providerId="ADAL" clId="{E0E3BE12-C07A-444A-8793-83B43DDD5D85}" dt="2021-02-26T13:17:37.799" v="3364"/>
          <ac:spMkLst>
            <pc:docMk/>
            <pc:sldMk cId="1165143180" sldId="798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E0E3BE12-C07A-444A-8793-83B43DDD5D85}" dt="2021-02-26T13:17:51.751" v="3388" actId="20577"/>
          <ac:graphicFrameMkLst>
            <pc:docMk/>
            <pc:sldMk cId="1165143180" sldId="798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E0E3BE12-C07A-444A-8793-83B43DDD5D85}" dt="2021-02-26T13:16:52.086" v="3299" actId="20577"/>
        <pc:sldMkLst>
          <pc:docMk/>
          <pc:sldMk cId="101625330" sldId="799"/>
        </pc:sldMkLst>
        <pc:spChg chg="mod">
          <ac:chgData name="christophe CHUECOS-FONT" userId="7e57acaa-4bc6-4644-8edc-0ecdded28594" providerId="ADAL" clId="{E0E3BE12-C07A-444A-8793-83B43DDD5D85}" dt="2021-02-26T13:16:52.086" v="3299" actId="20577"/>
          <ac:spMkLst>
            <pc:docMk/>
            <pc:sldMk cId="101625330" sldId="799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E0E3BE12-C07A-444A-8793-83B43DDD5D85}" dt="2021-02-26T13:14:04.599" v="3151" actId="20577"/>
          <ac:graphicFrameMkLst>
            <pc:docMk/>
            <pc:sldMk cId="101625330" sldId="799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E0E3BE12-C07A-444A-8793-83B43DDD5D85}" dt="2021-02-26T13:16:34.781" v="3257"/>
        <pc:sldMkLst>
          <pc:docMk/>
          <pc:sldMk cId="2768516613" sldId="800"/>
        </pc:sldMkLst>
        <pc:spChg chg="mod">
          <ac:chgData name="christophe CHUECOS-FONT" userId="7e57acaa-4bc6-4644-8edc-0ecdded28594" providerId="ADAL" clId="{E0E3BE12-C07A-444A-8793-83B43DDD5D85}" dt="2021-02-26T13:16:17.922" v="3229" actId="20577"/>
          <ac:spMkLst>
            <pc:docMk/>
            <pc:sldMk cId="2768516613" sldId="800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E0E3BE12-C07A-444A-8793-83B43DDD5D85}" dt="2021-02-26T13:16:34.781" v="3257"/>
          <ac:graphicFrameMkLst>
            <pc:docMk/>
            <pc:sldMk cId="2768516613" sldId="800"/>
            <ac:graphicFrameMk id="6" creationId="{4A6E514C-D3C4-4B29-BB5C-DB98C7CA5742}"/>
          </ac:graphicFrameMkLst>
        </pc:graphicFrameChg>
      </pc:sldChg>
    </pc:docChg>
  </pc:docChgLst>
  <pc:docChgLst>
    <pc:chgData name="christophe CHUECOS-FONT" userId="7e57acaa-4bc6-4644-8edc-0ecdded28594" providerId="ADAL" clId="{8BA2B171-D546-4C5A-BD3B-6720C76DF600}"/>
    <pc:docChg chg="undo custSel addSld delSld modSld sldOrd delMainMaster">
      <pc:chgData name="christophe CHUECOS-FONT" userId="7e57acaa-4bc6-4644-8edc-0ecdded28594" providerId="ADAL" clId="{8BA2B171-D546-4C5A-BD3B-6720C76DF600}" dt="2021-03-12T12:43:08.768" v="6143" actId="47"/>
      <pc:docMkLst>
        <pc:docMk/>
      </pc:docMkLst>
      <pc:sldChg chg="modSp mod">
        <pc:chgData name="christophe CHUECOS-FONT" userId="7e57acaa-4bc6-4644-8edc-0ecdded28594" providerId="ADAL" clId="{8BA2B171-D546-4C5A-BD3B-6720C76DF600}" dt="2021-03-04T16:30:27.089" v="16" actId="6549"/>
        <pc:sldMkLst>
          <pc:docMk/>
          <pc:sldMk cId="3848639155" sldId="256"/>
        </pc:sldMkLst>
        <pc:spChg chg="mod">
          <ac:chgData name="christophe CHUECOS-FONT" userId="7e57acaa-4bc6-4644-8edc-0ecdded28594" providerId="ADAL" clId="{8BA2B171-D546-4C5A-BD3B-6720C76DF600}" dt="2021-03-04T16:30:27.089" v="16" actId="6549"/>
          <ac:spMkLst>
            <pc:docMk/>
            <pc:sldMk cId="3848639155" sldId="256"/>
            <ac:spMk id="3" creationId="{21349F9F-31B4-41DC-B4DB-C097467B5266}"/>
          </ac:spMkLst>
        </pc:spChg>
      </pc:sldChg>
      <pc:sldChg chg="del">
        <pc:chgData name="christophe CHUECOS-FONT" userId="7e57acaa-4bc6-4644-8edc-0ecdded28594" providerId="ADAL" clId="{8BA2B171-D546-4C5A-BD3B-6720C76DF600}" dt="2021-03-04T17:49:05.410" v="23" actId="47"/>
        <pc:sldMkLst>
          <pc:docMk/>
          <pc:sldMk cId="2775471438" sldId="261"/>
        </pc:sldMkLst>
      </pc:sldChg>
      <pc:sldChg chg="del">
        <pc:chgData name="christophe CHUECOS-FONT" userId="7e57acaa-4bc6-4644-8edc-0ecdded28594" providerId="ADAL" clId="{8BA2B171-D546-4C5A-BD3B-6720C76DF600}" dt="2021-03-04T17:49:05.410" v="23" actId="47"/>
        <pc:sldMkLst>
          <pc:docMk/>
          <pc:sldMk cId="3509003486" sldId="263"/>
        </pc:sldMkLst>
      </pc:sldChg>
      <pc:sldChg chg="modSp mod">
        <pc:chgData name="christophe CHUECOS-FONT" userId="7e57acaa-4bc6-4644-8edc-0ecdded28594" providerId="ADAL" clId="{8BA2B171-D546-4C5A-BD3B-6720C76DF600}" dt="2021-03-05T14:06:50.553" v="6139" actId="207"/>
        <pc:sldMkLst>
          <pc:docMk/>
          <pc:sldMk cId="251691404" sldId="276"/>
        </pc:sldMkLst>
        <pc:graphicFrameChg chg="modGraphic">
          <ac:chgData name="christophe CHUECOS-FONT" userId="7e57acaa-4bc6-4644-8edc-0ecdded28594" providerId="ADAL" clId="{8BA2B171-D546-4C5A-BD3B-6720C76DF600}" dt="2021-03-05T14:06:50.553" v="6139" actId="20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addSp delSp modSp del mod ord">
        <pc:chgData name="christophe CHUECOS-FONT" userId="7e57acaa-4bc6-4644-8edc-0ecdded28594" providerId="ADAL" clId="{8BA2B171-D546-4C5A-BD3B-6720C76DF600}" dt="2021-03-04T18:18:13.945" v="723" actId="47"/>
        <pc:sldMkLst>
          <pc:docMk/>
          <pc:sldMk cId="2620757695" sldId="282"/>
        </pc:sldMkLst>
        <pc:spChg chg="mod">
          <ac:chgData name="christophe CHUECOS-FONT" userId="7e57acaa-4bc6-4644-8edc-0ecdded28594" providerId="ADAL" clId="{8BA2B171-D546-4C5A-BD3B-6720C76DF600}" dt="2021-03-04T18:14:17.291" v="627" actId="20577"/>
          <ac:spMkLst>
            <pc:docMk/>
            <pc:sldMk cId="2620757695" sldId="282"/>
            <ac:spMk id="2" creationId="{02517F6E-26E9-44E8-815E-774552D95FD0}"/>
          </ac:spMkLst>
        </pc:spChg>
        <pc:spChg chg="add del mod">
          <ac:chgData name="christophe CHUECOS-FONT" userId="7e57acaa-4bc6-4644-8edc-0ecdded28594" providerId="ADAL" clId="{8BA2B171-D546-4C5A-BD3B-6720C76DF600}" dt="2021-03-04T18:14:58.203" v="632" actId="1032"/>
          <ac:spMkLst>
            <pc:docMk/>
            <pc:sldMk cId="2620757695" sldId="282"/>
            <ac:spMk id="4" creationId="{1A48F702-4C87-45B1-B669-50C19D119398}"/>
          </ac:spMkLst>
        </pc:spChg>
        <pc:graphicFrameChg chg="add modGraphic">
          <ac:chgData name="christophe CHUECOS-FONT" userId="7e57acaa-4bc6-4644-8edc-0ecdded28594" providerId="ADAL" clId="{8BA2B171-D546-4C5A-BD3B-6720C76DF600}" dt="2021-03-04T18:14:58.203" v="632" actId="1032"/>
          <ac:graphicFrameMkLst>
            <pc:docMk/>
            <pc:sldMk cId="2620757695" sldId="282"/>
            <ac:graphicFrameMk id="5" creationId="{23C1FB0D-612A-4A62-82E4-0B3A486150FB}"/>
          </ac:graphicFrameMkLst>
        </pc:graphicFrameChg>
        <pc:graphicFrameChg chg="del mod">
          <ac:chgData name="christophe CHUECOS-FONT" userId="7e57acaa-4bc6-4644-8edc-0ecdded28594" providerId="ADAL" clId="{8BA2B171-D546-4C5A-BD3B-6720C76DF600}" dt="2021-03-04T18:14:38.074" v="630" actId="21"/>
          <ac:graphicFrameMkLst>
            <pc:docMk/>
            <pc:sldMk cId="2620757695" sldId="282"/>
            <ac:graphicFrameMk id="14" creationId="{1301276B-2BE7-4E82-9296-901226B527D3}"/>
          </ac:graphicFrameMkLst>
        </pc:graphicFrameChg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3185261458" sldId="285"/>
        </pc:sldMkLst>
      </pc:sldChg>
      <pc:sldChg chg="del">
        <pc:chgData name="christophe CHUECOS-FONT" userId="7e57acaa-4bc6-4644-8edc-0ecdded28594" providerId="ADAL" clId="{8BA2B171-D546-4C5A-BD3B-6720C76DF600}" dt="2021-03-04T17:49:10.805" v="24" actId="47"/>
        <pc:sldMkLst>
          <pc:docMk/>
          <pc:sldMk cId="329831576" sldId="286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966349221" sldId="667"/>
        </pc:sldMkLst>
      </pc:sldChg>
      <pc:sldChg chg="modSp mod ord">
        <pc:chgData name="christophe CHUECOS-FONT" userId="7e57acaa-4bc6-4644-8edc-0ecdded28594" providerId="ADAL" clId="{8BA2B171-D546-4C5A-BD3B-6720C76DF600}" dt="2021-03-04T17:55:17.950" v="321"/>
        <pc:sldMkLst>
          <pc:docMk/>
          <pc:sldMk cId="649958680" sldId="672"/>
        </pc:sldMkLst>
        <pc:spChg chg="mod">
          <ac:chgData name="christophe CHUECOS-FONT" userId="7e57acaa-4bc6-4644-8edc-0ecdded28594" providerId="ADAL" clId="{8BA2B171-D546-4C5A-BD3B-6720C76DF600}" dt="2021-03-04T17:53:41.579" v="241" actId="20577"/>
          <ac:spMkLst>
            <pc:docMk/>
            <pc:sldMk cId="649958680" sldId="672"/>
            <ac:spMk id="2" creationId="{55455007-8AF7-4CFF-8B0D-381E697B6724}"/>
          </ac:spMkLst>
        </pc:spChg>
        <pc:graphicFrameChg chg="mod">
          <ac:chgData name="christophe CHUECOS-FONT" userId="7e57acaa-4bc6-4644-8edc-0ecdded28594" providerId="ADAL" clId="{8BA2B171-D546-4C5A-BD3B-6720C76DF600}" dt="2021-03-04T17:55:17.950" v="321"/>
          <ac:graphicFrameMkLst>
            <pc:docMk/>
            <pc:sldMk cId="649958680" sldId="672"/>
            <ac:graphicFrameMk id="5" creationId="{0C899C7D-CFDA-4D32-B2E9-07B40C3BB1B2}"/>
          </ac:graphicFrameMkLst>
        </pc:graphicFrameChg>
      </pc:sldChg>
      <pc:sldChg chg="modSp mod">
        <pc:chgData name="christophe CHUECOS-FONT" userId="7e57acaa-4bc6-4644-8edc-0ecdded28594" providerId="ADAL" clId="{8BA2B171-D546-4C5A-BD3B-6720C76DF600}" dt="2021-03-04T17:53:00.561" v="207" actId="27636"/>
        <pc:sldMkLst>
          <pc:docMk/>
          <pc:sldMk cId="3843576302" sldId="677"/>
        </pc:sldMkLst>
        <pc:spChg chg="mod">
          <ac:chgData name="christophe CHUECOS-FONT" userId="7e57acaa-4bc6-4644-8edc-0ecdded28594" providerId="ADAL" clId="{8BA2B171-D546-4C5A-BD3B-6720C76DF600}" dt="2021-03-04T17:53:00.561" v="207" actId="27636"/>
          <ac:spMkLst>
            <pc:docMk/>
            <pc:sldMk cId="3843576302" sldId="677"/>
            <ac:spMk id="2" creationId="{02517F6E-26E9-44E8-815E-774552D95FD0}"/>
          </ac:spMkLst>
        </pc:spChg>
      </pc:sldChg>
      <pc:sldChg chg="addSp modSp mod ord">
        <pc:chgData name="christophe CHUECOS-FONT" userId="7e57acaa-4bc6-4644-8edc-0ecdded28594" providerId="ADAL" clId="{8BA2B171-D546-4C5A-BD3B-6720C76DF600}" dt="2021-03-04T18:18:09.684" v="722" actId="207"/>
        <pc:sldMkLst>
          <pc:docMk/>
          <pc:sldMk cId="2860654540" sldId="696"/>
        </pc:sldMkLst>
        <pc:graphicFrameChg chg="add mod modGraphic">
          <ac:chgData name="christophe CHUECOS-FONT" userId="7e57acaa-4bc6-4644-8edc-0ecdded28594" providerId="ADAL" clId="{8BA2B171-D546-4C5A-BD3B-6720C76DF600}" dt="2021-03-04T18:18:09.684" v="722" actId="207"/>
          <ac:graphicFrameMkLst>
            <pc:docMk/>
            <pc:sldMk cId="2860654540" sldId="696"/>
            <ac:graphicFrameMk id="2" creationId="{0E448ABE-CC6D-4DE6-BFE5-FAD4889C7629}"/>
          </ac:graphicFrameMkLst>
        </pc:graphicFrameChg>
        <pc:graphicFrameChg chg="mod">
          <ac:chgData name="christophe CHUECOS-FONT" userId="7e57acaa-4bc6-4644-8edc-0ecdded28594" providerId="ADAL" clId="{8BA2B171-D546-4C5A-BD3B-6720C76DF600}" dt="2021-03-04T18:16:34.359" v="714"/>
          <ac:graphicFrameMkLst>
            <pc:docMk/>
            <pc:sldMk cId="2860654540" sldId="696"/>
            <ac:graphicFrameMk id="6" creationId="{4A6E514C-D3C4-4B29-BB5C-DB98C7CA5742}"/>
          </ac:graphicFrameMkLst>
        </pc:graphicFrameChg>
      </pc:sldChg>
      <pc:sldChg chg="del">
        <pc:chgData name="christophe CHUECOS-FONT" userId="7e57acaa-4bc6-4644-8edc-0ecdded28594" providerId="ADAL" clId="{8BA2B171-D546-4C5A-BD3B-6720C76DF600}" dt="2021-03-04T17:49:29.634" v="27" actId="47"/>
        <pc:sldMkLst>
          <pc:docMk/>
          <pc:sldMk cId="1435419321" sldId="720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46848278" sldId="741"/>
        </pc:sldMkLst>
      </pc:sldChg>
      <pc:sldChg chg="del">
        <pc:chgData name="christophe CHUECOS-FONT" userId="7e57acaa-4bc6-4644-8edc-0ecdded28594" providerId="ADAL" clId="{8BA2B171-D546-4C5A-BD3B-6720C76DF600}" dt="2021-03-04T17:49:27.346" v="26" actId="47"/>
        <pc:sldMkLst>
          <pc:docMk/>
          <pc:sldMk cId="862046135" sldId="746"/>
        </pc:sldMkLst>
      </pc:sldChg>
      <pc:sldChg chg="modSp del mod ord">
        <pc:chgData name="christophe CHUECOS-FONT" userId="7e57acaa-4bc6-4644-8edc-0ecdded28594" providerId="ADAL" clId="{8BA2B171-D546-4C5A-BD3B-6720C76DF600}" dt="2021-03-12T12:43:08.768" v="6143" actId="47"/>
        <pc:sldMkLst>
          <pc:docMk/>
          <pc:sldMk cId="199886149" sldId="751"/>
        </pc:sldMkLst>
        <pc:spChg chg="mod">
          <ac:chgData name="christophe CHUECOS-FONT" userId="7e57acaa-4bc6-4644-8edc-0ecdded28594" providerId="ADAL" clId="{8BA2B171-D546-4C5A-BD3B-6720C76DF600}" dt="2021-03-04T18:21:04.604" v="809" actId="20577"/>
          <ac:spMkLst>
            <pc:docMk/>
            <pc:sldMk cId="199886149" sldId="751"/>
            <ac:spMk id="5" creationId="{DFEA2082-E7DE-4453-8158-54F380B94285}"/>
          </ac:spMkLst>
        </pc:spChg>
      </pc:sldChg>
      <pc:sldChg chg="del">
        <pc:chgData name="christophe CHUECOS-FONT" userId="7e57acaa-4bc6-4644-8edc-0ecdded28594" providerId="ADAL" clId="{8BA2B171-D546-4C5A-BD3B-6720C76DF600}" dt="2021-03-04T17:49:32.956" v="28" actId="2696"/>
        <pc:sldMkLst>
          <pc:docMk/>
          <pc:sldMk cId="1388402899" sldId="753"/>
        </pc:sldMkLst>
      </pc:sldChg>
      <pc:sldChg chg="del">
        <pc:chgData name="christophe CHUECOS-FONT" userId="7e57acaa-4bc6-4644-8edc-0ecdded28594" providerId="ADAL" clId="{8BA2B171-D546-4C5A-BD3B-6720C76DF600}" dt="2021-03-04T17:49:29.634" v="27" actId="47"/>
        <pc:sldMkLst>
          <pc:docMk/>
          <pc:sldMk cId="3112461652" sldId="760"/>
        </pc:sldMkLst>
      </pc:sldChg>
      <pc:sldChg chg="del">
        <pc:chgData name="christophe CHUECOS-FONT" userId="7e57acaa-4bc6-4644-8edc-0ecdded28594" providerId="ADAL" clId="{8BA2B171-D546-4C5A-BD3B-6720C76DF600}" dt="2021-03-04T17:49:32.956" v="28" actId="2696"/>
        <pc:sldMkLst>
          <pc:docMk/>
          <pc:sldMk cId="212327455" sldId="761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3892075455" sldId="771"/>
        </pc:sldMkLst>
      </pc:sldChg>
      <pc:sldChg chg="del">
        <pc:chgData name="christophe CHUECOS-FONT" userId="7e57acaa-4bc6-4644-8edc-0ecdded28594" providerId="ADAL" clId="{8BA2B171-D546-4C5A-BD3B-6720C76DF600}" dt="2021-03-04T17:49:10.805" v="24" actId="47"/>
        <pc:sldMkLst>
          <pc:docMk/>
          <pc:sldMk cId="2762610378" sldId="772"/>
        </pc:sldMkLst>
      </pc:sldChg>
      <pc:sldChg chg="del">
        <pc:chgData name="christophe CHUECOS-FONT" userId="7e57acaa-4bc6-4644-8edc-0ecdded28594" providerId="ADAL" clId="{8BA2B171-D546-4C5A-BD3B-6720C76DF600}" dt="2021-03-04T17:49:10.805" v="24" actId="47"/>
        <pc:sldMkLst>
          <pc:docMk/>
          <pc:sldMk cId="2111735787" sldId="773"/>
        </pc:sldMkLst>
      </pc:sldChg>
      <pc:sldChg chg="del">
        <pc:chgData name="christophe CHUECOS-FONT" userId="7e57acaa-4bc6-4644-8edc-0ecdded28594" providerId="ADAL" clId="{8BA2B171-D546-4C5A-BD3B-6720C76DF600}" dt="2021-03-04T17:49:10.805" v="24" actId="47"/>
        <pc:sldMkLst>
          <pc:docMk/>
          <pc:sldMk cId="696502473" sldId="774"/>
        </pc:sldMkLst>
      </pc:sldChg>
      <pc:sldChg chg="del">
        <pc:chgData name="christophe CHUECOS-FONT" userId="7e57acaa-4bc6-4644-8edc-0ecdded28594" providerId="ADAL" clId="{8BA2B171-D546-4C5A-BD3B-6720C76DF600}" dt="2021-03-04T17:49:10.805" v="24" actId="47"/>
        <pc:sldMkLst>
          <pc:docMk/>
          <pc:sldMk cId="4174618780" sldId="775"/>
        </pc:sldMkLst>
      </pc:sldChg>
      <pc:sldChg chg="del">
        <pc:chgData name="christophe CHUECOS-FONT" userId="7e57acaa-4bc6-4644-8edc-0ecdded28594" providerId="ADAL" clId="{8BA2B171-D546-4C5A-BD3B-6720C76DF600}" dt="2021-03-04T17:49:10.805" v="24" actId="47"/>
        <pc:sldMkLst>
          <pc:docMk/>
          <pc:sldMk cId="2798386433" sldId="776"/>
        </pc:sldMkLst>
      </pc:sldChg>
      <pc:sldChg chg="del">
        <pc:chgData name="christophe CHUECOS-FONT" userId="7e57acaa-4bc6-4644-8edc-0ecdded28594" providerId="ADAL" clId="{8BA2B171-D546-4C5A-BD3B-6720C76DF600}" dt="2021-03-04T17:49:10.805" v="24" actId="47"/>
        <pc:sldMkLst>
          <pc:docMk/>
          <pc:sldMk cId="3770467369" sldId="777"/>
        </pc:sldMkLst>
      </pc:sldChg>
      <pc:sldChg chg="del">
        <pc:chgData name="christophe CHUECOS-FONT" userId="7e57acaa-4bc6-4644-8edc-0ecdded28594" providerId="ADAL" clId="{8BA2B171-D546-4C5A-BD3B-6720C76DF600}" dt="2021-03-04T17:49:10.805" v="24" actId="47"/>
        <pc:sldMkLst>
          <pc:docMk/>
          <pc:sldMk cId="2365865540" sldId="778"/>
        </pc:sldMkLst>
      </pc:sldChg>
      <pc:sldChg chg="addSp modSp mod ord">
        <pc:chgData name="christophe CHUECOS-FONT" userId="7e57acaa-4bc6-4644-8edc-0ecdded28594" providerId="ADAL" clId="{8BA2B171-D546-4C5A-BD3B-6720C76DF600}" dt="2021-03-05T07:10:48.049" v="1068" actId="13926"/>
        <pc:sldMkLst>
          <pc:docMk/>
          <pc:sldMk cId="3945995144" sldId="779"/>
        </pc:sldMkLst>
        <pc:spChg chg="mod">
          <ac:chgData name="christophe CHUECOS-FONT" userId="7e57acaa-4bc6-4644-8edc-0ecdded28594" providerId="ADAL" clId="{8BA2B171-D546-4C5A-BD3B-6720C76DF600}" dt="2021-03-05T07:09:33.631" v="1059" actId="27636"/>
          <ac:spMkLst>
            <pc:docMk/>
            <pc:sldMk cId="3945995144" sldId="779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8BA2B171-D546-4C5A-BD3B-6720C76DF600}" dt="2021-03-04T18:20:36.427" v="778" actId="6549"/>
          <ac:spMkLst>
            <pc:docMk/>
            <pc:sldMk cId="3945995144" sldId="779"/>
            <ac:spMk id="5" creationId="{DFEA2082-E7DE-4453-8158-54F380B94285}"/>
          </ac:spMkLst>
        </pc:spChg>
        <pc:spChg chg="add mod">
          <ac:chgData name="christophe CHUECOS-FONT" userId="7e57acaa-4bc6-4644-8edc-0ecdded28594" providerId="ADAL" clId="{8BA2B171-D546-4C5A-BD3B-6720C76DF600}" dt="2021-03-05T07:10:48.049" v="1068" actId="13926"/>
          <ac:spMkLst>
            <pc:docMk/>
            <pc:sldMk cId="3945995144" sldId="779"/>
            <ac:spMk id="14" creationId="{81D349E7-2792-4173-B922-B597DE13B126}"/>
          </ac:spMkLst>
        </pc:spChg>
        <pc:picChg chg="mod">
          <ac:chgData name="christophe CHUECOS-FONT" userId="7e57acaa-4bc6-4644-8edc-0ecdded28594" providerId="ADAL" clId="{8BA2B171-D546-4C5A-BD3B-6720C76DF600}" dt="2021-03-05T07:10:17.284" v="1064" actId="14100"/>
          <ac:picMkLst>
            <pc:docMk/>
            <pc:sldMk cId="3945995144" sldId="779"/>
            <ac:picMk id="36" creationId="{FC9EF324-339C-4E46-9508-BF0C86AAC793}"/>
          </ac:picMkLst>
        </pc:picChg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2156200813" sldId="780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441897783" sldId="781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1728658405" sldId="783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1708826299" sldId="784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718493941" sldId="785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1217582069" sldId="786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3455780624" sldId="787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211972868" sldId="788"/>
        </pc:sldMkLst>
      </pc:sldChg>
      <pc:sldChg chg="del">
        <pc:chgData name="christophe CHUECOS-FONT" userId="7e57acaa-4bc6-4644-8edc-0ecdded28594" providerId="ADAL" clId="{8BA2B171-D546-4C5A-BD3B-6720C76DF600}" dt="2021-03-04T17:49:23.914" v="25" actId="47"/>
        <pc:sldMkLst>
          <pc:docMk/>
          <pc:sldMk cId="2485451293" sldId="789"/>
        </pc:sldMkLst>
      </pc:sldChg>
      <pc:sldChg chg="ord">
        <pc:chgData name="christophe CHUECOS-FONT" userId="7e57acaa-4bc6-4644-8edc-0ecdded28594" providerId="ADAL" clId="{8BA2B171-D546-4C5A-BD3B-6720C76DF600}" dt="2021-03-05T13:22:43.454" v="4595"/>
        <pc:sldMkLst>
          <pc:docMk/>
          <pc:sldMk cId="1394971565" sldId="791"/>
        </pc:sldMkLst>
      </pc:sldChg>
      <pc:sldChg chg="del">
        <pc:chgData name="christophe CHUECOS-FONT" userId="7e57acaa-4bc6-4644-8edc-0ecdded28594" providerId="ADAL" clId="{8BA2B171-D546-4C5A-BD3B-6720C76DF600}" dt="2021-03-04T17:49:27.346" v="26" actId="47"/>
        <pc:sldMkLst>
          <pc:docMk/>
          <pc:sldMk cId="3327528291" sldId="792"/>
        </pc:sldMkLst>
      </pc:sldChg>
      <pc:sldChg chg="addSp delSp modSp mod ord">
        <pc:chgData name="christophe CHUECOS-FONT" userId="7e57acaa-4bc6-4644-8edc-0ecdded28594" providerId="ADAL" clId="{8BA2B171-D546-4C5A-BD3B-6720C76DF600}" dt="2021-03-05T11:16:15.427" v="2841"/>
        <pc:sldMkLst>
          <pc:docMk/>
          <pc:sldMk cId="2165141887" sldId="793"/>
        </pc:sldMkLst>
        <pc:spChg chg="mod">
          <ac:chgData name="christophe CHUECOS-FONT" userId="7e57acaa-4bc6-4644-8edc-0ecdded28594" providerId="ADAL" clId="{8BA2B171-D546-4C5A-BD3B-6720C76DF600}" dt="2021-03-04T17:52:17.093" v="180" actId="14100"/>
          <ac:spMkLst>
            <pc:docMk/>
            <pc:sldMk cId="2165141887" sldId="793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8BA2B171-D546-4C5A-BD3B-6720C76DF600}" dt="2021-03-04T17:52:22.493" v="181" actId="14100"/>
          <ac:spMkLst>
            <pc:docMk/>
            <pc:sldMk cId="2165141887" sldId="793"/>
            <ac:spMk id="3" creationId="{060668A1-F703-43F0-AA81-AEEE6C0B4942}"/>
          </ac:spMkLst>
        </pc:spChg>
        <pc:spChg chg="add">
          <ac:chgData name="christophe CHUECOS-FONT" userId="7e57acaa-4bc6-4644-8edc-0ecdded28594" providerId="ADAL" clId="{8BA2B171-D546-4C5A-BD3B-6720C76DF600}" dt="2021-03-04T17:50:17.481" v="53" actId="26606"/>
          <ac:spMkLst>
            <pc:docMk/>
            <pc:sldMk cId="2165141887" sldId="793"/>
            <ac:spMk id="26" creationId="{8FC9BE17-9A7B-462D-AE50-3D8777387304}"/>
          </ac:spMkLst>
        </pc:spChg>
        <pc:spChg chg="add">
          <ac:chgData name="christophe CHUECOS-FONT" userId="7e57acaa-4bc6-4644-8edc-0ecdded28594" providerId="ADAL" clId="{8BA2B171-D546-4C5A-BD3B-6720C76DF600}" dt="2021-03-04T17:50:17.481" v="53" actId="26606"/>
          <ac:spMkLst>
            <pc:docMk/>
            <pc:sldMk cId="2165141887" sldId="793"/>
            <ac:spMk id="28" creationId="{3EBE8569-6AEC-4B8C-8D53-2DE337CDBA65}"/>
          </ac:spMkLst>
        </pc:spChg>
        <pc:spChg chg="add">
          <ac:chgData name="christophe CHUECOS-FONT" userId="7e57acaa-4bc6-4644-8edc-0ecdded28594" providerId="ADAL" clId="{8BA2B171-D546-4C5A-BD3B-6720C76DF600}" dt="2021-03-04T17:50:17.481" v="53" actId="26606"/>
          <ac:spMkLst>
            <pc:docMk/>
            <pc:sldMk cId="2165141887" sldId="793"/>
            <ac:spMk id="30" creationId="{55D4142C-5077-457F-A6AD-3FECFDB39685}"/>
          </ac:spMkLst>
        </pc:spChg>
        <pc:spChg chg="add">
          <ac:chgData name="christophe CHUECOS-FONT" userId="7e57acaa-4bc6-4644-8edc-0ecdded28594" providerId="ADAL" clId="{8BA2B171-D546-4C5A-BD3B-6720C76DF600}" dt="2021-03-04T17:50:17.481" v="53" actId="26606"/>
          <ac:spMkLst>
            <pc:docMk/>
            <pc:sldMk cId="2165141887" sldId="793"/>
            <ac:spMk id="32" creationId="{7A5F0580-5EE9-419F-96EE-B6529EF6E7D0}"/>
          </ac:spMkLst>
        </pc:spChg>
        <pc:picChg chg="mod">
          <ac:chgData name="christophe CHUECOS-FONT" userId="7e57acaa-4bc6-4644-8edc-0ecdded28594" providerId="ADAL" clId="{8BA2B171-D546-4C5A-BD3B-6720C76DF600}" dt="2021-03-04T17:50:17.481" v="53" actId="26606"/>
          <ac:picMkLst>
            <pc:docMk/>
            <pc:sldMk cId="2165141887" sldId="793"/>
            <ac:picMk id="12" creationId="{1FD79E4A-E80D-4BA5-BEA9-44F693117FDC}"/>
          </ac:picMkLst>
        </pc:picChg>
        <pc:picChg chg="del">
          <ac:chgData name="christophe CHUECOS-FONT" userId="7e57acaa-4bc6-4644-8edc-0ecdded28594" providerId="ADAL" clId="{8BA2B171-D546-4C5A-BD3B-6720C76DF600}" dt="2021-03-04T17:50:17.481" v="53" actId="26606"/>
          <ac:picMkLst>
            <pc:docMk/>
            <pc:sldMk cId="2165141887" sldId="793"/>
            <ac:picMk id="21" creationId="{54DDEBDD-D8BD-41A6-8A0D-B00E3768B0F9}"/>
          </ac:picMkLst>
        </pc:picChg>
      </pc:sldChg>
      <pc:sldChg chg="ord">
        <pc:chgData name="christophe CHUECOS-FONT" userId="7e57acaa-4bc6-4644-8edc-0ecdded28594" providerId="ADAL" clId="{8BA2B171-D546-4C5A-BD3B-6720C76DF600}" dt="2021-03-04T17:52:49.371" v="183"/>
        <pc:sldMkLst>
          <pc:docMk/>
          <pc:sldMk cId="348824562" sldId="795"/>
        </pc:sldMkLst>
      </pc:sldChg>
      <pc:sldChg chg="ord">
        <pc:chgData name="christophe CHUECOS-FONT" userId="7e57acaa-4bc6-4644-8edc-0ecdded28594" providerId="ADAL" clId="{8BA2B171-D546-4C5A-BD3B-6720C76DF600}" dt="2021-03-04T17:52:49.371" v="183"/>
        <pc:sldMkLst>
          <pc:docMk/>
          <pc:sldMk cId="2744456229" sldId="796"/>
        </pc:sldMkLst>
      </pc:sldChg>
      <pc:sldChg chg="ord">
        <pc:chgData name="christophe CHUECOS-FONT" userId="7e57acaa-4bc6-4644-8edc-0ecdded28594" providerId="ADAL" clId="{8BA2B171-D546-4C5A-BD3B-6720C76DF600}" dt="2021-03-04T17:52:49.371" v="183"/>
        <pc:sldMkLst>
          <pc:docMk/>
          <pc:sldMk cId="1270884533" sldId="797"/>
        </pc:sldMkLst>
      </pc:sldChg>
      <pc:sldChg chg="ord">
        <pc:chgData name="christophe CHUECOS-FONT" userId="7e57acaa-4bc6-4644-8edc-0ecdded28594" providerId="ADAL" clId="{8BA2B171-D546-4C5A-BD3B-6720C76DF600}" dt="2021-03-04T17:52:49.371" v="183"/>
        <pc:sldMkLst>
          <pc:docMk/>
          <pc:sldMk cId="1165143180" sldId="798"/>
        </pc:sldMkLst>
      </pc:sldChg>
      <pc:sldChg chg="ord">
        <pc:chgData name="christophe CHUECOS-FONT" userId="7e57acaa-4bc6-4644-8edc-0ecdded28594" providerId="ADAL" clId="{8BA2B171-D546-4C5A-BD3B-6720C76DF600}" dt="2021-03-04T17:52:49.371" v="183"/>
        <pc:sldMkLst>
          <pc:docMk/>
          <pc:sldMk cId="101625330" sldId="799"/>
        </pc:sldMkLst>
      </pc:sldChg>
      <pc:sldChg chg="modSp ord">
        <pc:chgData name="christophe CHUECOS-FONT" userId="7e57acaa-4bc6-4644-8edc-0ecdded28594" providerId="ADAL" clId="{8BA2B171-D546-4C5A-BD3B-6720C76DF600}" dt="2021-03-05T06:58:58.319" v="819" actId="14100"/>
        <pc:sldMkLst>
          <pc:docMk/>
          <pc:sldMk cId="2768516613" sldId="800"/>
        </pc:sldMkLst>
        <pc:graphicFrameChg chg="mod">
          <ac:chgData name="christophe CHUECOS-FONT" userId="7e57acaa-4bc6-4644-8edc-0ecdded28594" providerId="ADAL" clId="{8BA2B171-D546-4C5A-BD3B-6720C76DF600}" dt="2021-03-05T06:58:58.319" v="819" actId="14100"/>
          <ac:graphicFrameMkLst>
            <pc:docMk/>
            <pc:sldMk cId="2768516613" sldId="800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8BA2B171-D546-4C5A-BD3B-6720C76DF600}" dt="2021-03-04T17:53:15.288" v="218" actId="20577"/>
        <pc:sldMkLst>
          <pc:docMk/>
          <pc:sldMk cId="616563278" sldId="801"/>
        </pc:sldMkLst>
        <pc:spChg chg="mod">
          <ac:chgData name="christophe CHUECOS-FONT" userId="7e57acaa-4bc6-4644-8edc-0ecdded28594" providerId="ADAL" clId="{8BA2B171-D546-4C5A-BD3B-6720C76DF600}" dt="2021-03-04T17:53:15.288" v="218" actId="20577"/>
          <ac:spMkLst>
            <pc:docMk/>
            <pc:sldMk cId="616563278" sldId="801"/>
            <ac:spMk id="2" creationId="{02517F6E-26E9-44E8-815E-774552D95FD0}"/>
          </ac:spMkLst>
        </pc:spChg>
      </pc:sldChg>
      <pc:sldChg chg="addSp delSp modSp new mod ord">
        <pc:chgData name="christophe CHUECOS-FONT" userId="7e57acaa-4bc6-4644-8edc-0ecdded28594" providerId="ADAL" clId="{8BA2B171-D546-4C5A-BD3B-6720C76DF600}" dt="2021-03-05T06:57:19.877" v="816" actId="14100"/>
        <pc:sldMkLst>
          <pc:docMk/>
          <pc:sldMk cId="2909694736" sldId="802"/>
        </pc:sldMkLst>
        <pc:spChg chg="mod">
          <ac:chgData name="christophe CHUECOS-FONT" userId="7e57acaa-4bc6-4644-8edc-0ecdded28594" providerId="ADAL" clId="{8BA2B171-D546-4C5A-BD3B-6720C76DF600}" dt="2021-03-05T06:57:07.207" v="813" actId="14100"/>
          <ac:spMkLst>
            <pc:docMk/>
            <pc:sldMk cId="2909694736" sldId="802"/>
            <ac:spMk id="2" creationId="{A642374E-6CC0-4655-B9AB-1F032152246A}"/>
          </ac:spMkLst>
        </pc:spChg>
        <pc:spChg chg="del">
          <ac:chgData name="christophe CHUECOS-FONT" userId="7e57acaa-4bc6-4644-8edc-0ecdded28594" providerId="ADAL" clId="{8BA2B171-D546-4C5A-BD3B-6720C76DF600}" dt="2021-03-04T17:57:01.690" v="327"/>
          <ac:spMkLst>
            <pc:docMk/>
            <pc:sldMk cId="2909694736" sldId="802"/>
            <ac:spMk id="3" creationId="{842A3765-F6AA-4F2E-B768-DB0BE4823D43}"/>
          </ac:spMkLst>
        </pc:spChg>
        <pc:graphicFrameChg chg="add mod modGraphic">
          <ac:chgData name="christophe CHUECOS-FONT" userId="7e57acaa-4bc6-4644-8edc-0ecdded28594" providerId="ADAL" clId="{8BA2B171-D546-4C5A-BD3B-6720C76DF600}" dt="2021-03-05T06:57:19.877" v="816" actId="14100"/>
          <ac:graphicFrameMkLst>
            <pc:docMk/>
            <pc:sldMk cId="2909694736" sldId="802"/>
            <ac:graphicFrameMk id="4" creationId="{CC3EDAFB-F998-43F9-B64D-6ABC31FC6876}"/>
          </ac:graphicFrameMkLst>
        </pc:graphicFrameChg>
      </pc:sldChg>
      <pc:sldChg chg="addSp delSp modSp new mod">
        <pc:chgData name="christophe CHUECOS-FONT" userId="7e57acaa-4bc6-4644-8edc-0ecdded28594" providerId="ADAL" clId="{8BA2B171-D546-4C5A-BD3B-6720C76DF600}" dt="2021-03-04T18:01:52.728" v="361" actId="14100"/>
        <pc:sldMkLst>
          <pc:docMk/>
          <pc:sldMk cId="2502557485" sldId="803"/>
        </pc:sldMkLst>
        <pc:spChg chg="del">
          <ac:chgData name="christophe CHUECOS-FONT" userId="7e57acaa-4bc6-4644-8edc-0ecdded28594" providerId="ADAL" clId="{8BA2B171-D546-4C5A-BD3B-6720C76DF600}" dt="2021-03-04T18:01:48.419" v="360" actId="21"/>
          <ac:spMkLst>
            <pc:docMk/>
            <pc:sldMk cId="2502557485" sldId="803"/>
            <ac:spMk id="2" creationId="{8F459BED-C9CE-40ED-BE8E-1DFF8D169D7A}"/>
          </ac:spMkLst>
        </pc:spChg>
        <pc:spChg chg="del">
          <ac:chgData name="christophe CHUECOS-FONT" userId="7e57acaa-4bc6-4644-8edc-0ecdded28594" providerId="ADAL" clId="{8BA2B171-D546-4C5A-BD3B-6720C76DF600}" dt="2021-03-04T18:01:38.341" v="356"/>
          <ac:spMkLst>
            <pc:docMk/>
            <pc:sldMk cId="2502557485" sldId="803"/>
            <ac:spMk id="3" creationId="{4F10317D-20E1-4D7E-8BC5-84A176DC6E7D}"/>
          </ac:spMkLst>
        </pc:spChg>
        <pc:picChg chg="add mod">
          <ac:chgData name="christophe CHUECOS-FONT" userId="7e57acaa-4bc6-4644-8edc-0ecdded28594" providerId="ADAL" clId="{8BA2B171-D546-4C5A-BD3B-6720C76DF600}" dt="2021-03-04T18:01:52.728" v="361" actId="14100"/>
          <ac:picMkLst>
            <pc:docMk/>
            <pc:sldMk cId="2502557485" sldId="803"/>
            <ac:picMk id="6" creationId="{2D812DF3-F77A-4D7C-A90B-91F94A0E2845}"/>
          </ac:picMkLst>
        </pc:picChg>
      </pc:sldChg>
      <pc:sldChg chg="modSp add mod">
        <pc:chgData name="christophe CHUECOS-FONT" userId="7e57acaa-4bc6-4644-8edc-0ecdded28594" providerId="ADAL" clId="{8BA2B171-D546-4C5A-BD3B-6720C76DF600}" dt="2021-03-04T18:03:38.013" v="365" actId="14100"/>
        <pc:sldMkLst>
          <pc:docMk/>
          <pc:sldMk cId="1729444894" sldId="804"/>
        </pc:sldMkLst>
        <pc:picChg chg="mod">
          <ac:chgData name="christophe CHUECOS-FONT" userId="7e57acaa-4bc6-4644-8edc-0ecdded28594" providerId="ADAL" clId="{8BA2B171-D546-4C5A-BD3B-6720C76DF600}" dt="2021-03-04T18:03:38.013" v="365" actId="14100"/>
          <ac:picMkLst>
            <pc:docMk/>
            <pc:sldMk cId="1729444894" sldId="804"/>
            <ac:picMk id="6" creationId="{2D812DF3-F77A-4D7C-A90B-91F94A0E2845}"/>
          </ac:picMkLst>
        </pc:picChg>
      </pc:sldChg>
      <pc:sldChg chg="modSp add mod">
        <pc:chgData name="christophe CHUECOS-FONT" userId="7e57acaa-4bc6-4644-8edc-0ecdded28594" providerId="ADAL" clId="{8BA2B171-D546-4C5A-BD3B-6720C76DF600}" dt="2021-03-04T18:03:51.130" v="368" actId="14100"/>
        <pc:sldMkLst>
          <pc:docMk/>
          <pc:sldMk cId="4183606693" sldId="805"/>
        </pc:sldMkLst>
        <pc:picChg chg="mod">
          <ac:chgData name="christophe CHUECOS-FONT" userId="7e57acaa-4bc6-4644-8edc-0ecdded28594" providerId="ADAL" clId="{8BA2B171-D546-4C5A-BD3B-6720C76DF600}" dt="2021-03-04T18:03:51.130" v="368" actId="14100"/>
          <ac:picMkLst>
            <pc:docMk/>
            <pc:sldMk cId="4183606693" sldId="805"/>
            <ac:picMk id="6" creationId="{2D812DF3-F77A-4D7C-A90B-91F94A0E2845}"/>
          </ac:picMkLst>
        </pc:picChg>
      </pc:sldChg>
      <pc:sldChg chg="modSp add mod">
        <pc:chgData name="christophe CHUECOS-FONT" userId="7e57acaa-4bc6-4644-8edc-0ecdded28594" providerId="ADAL" clId="{8BA2B171-D546-4C5A-BD3B-6720C76DF600}" dt="2021-03-05T06:59:17.945" v="822" actId="113"/>
        <pc:sldMkLst>
          <pc:docMk/>
          <pc:sldMk cId="4283212658" sldId="806"/>
        </pc:sldMkLst>
        <pc:spChg chg="mod">
          <ac:chgData name="christophe CHUECOS-FONT" userId="7e57acaa-4bc6-4644-8edc-0ecdded28594" providerId="ADAL" clId="{8BA2B171-D546-4C5A-BD3B-6720C76DF600}" dt="2021-03-05T06:59:10.224" v="820" actId="113"/>
          <ac:spMkLst>
            <pc:docMk/>
            <pc:sldMk cId="4283212658" sldId="806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06:59:17.945" v="822" actId="113"/>
          <ac:graphicFrameMkLst>
            <pc:docMk/>
            <pc:sldMk cId="4283212658" sldId="806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8BA2B171-D546-4C5A-BD3B-6720C76DF600}" dt="2021-03-05T07:00:01.954" v="825" actId="115"/>
        <pc:sldMkLst>
          <pc:docMk/>
          <pc:sldMk cId="341887362" sldId="807"/>
        </pc:sldMkLst>
        <pc:spChg chg="mod">
          <ac:chgData name="christophe CHUECOS-FONT" userId="7e57acaa-4bc6-4644-8edc-0ecdded28594" providerId="ADAL" clId="{8BA2B171-D546-4C5A-BD3B-6720C76DF600}" dt="2021-03-05T07:00:01.954" v="825" actId="115"/>
          <ac:spMkLst>
            <pc:docMk/>
            <pc:sldMk cId="341887362" sldId="807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4T18:09:05.644" v="443" actId="255"/>
          <ac:graphicFrameMkLst>
            <pc:docMk/>
            <pc:sldMk cId="341887362" sldId="807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8BA2B171-D546-4C5A-BD3B-6720C76DF600}" dt="2021-03-05T06:59:35.870" v="823" actId="113"/>
        <pc:sldMkLst>
          <pc:docMk/>
          <pc:sldMk cId="146244792" sldId="808"/>
        </pc:sldMkLst>
        <pc:spChg chg="mod">
          <ac:chgData name="christophe CHUECOS-FONT" userId="7e57acaa-4bc6-4644-8edc-0ecdded28594" providerId="ADAL" clId="{8BA2B171-D546-4C5A-BD3B-6720C76DF600}" dt="2021-03-05T06:59:35.870" v="823" actId="113"/>
          <ac:spMkLst>
            <pc:docMk/>
            <pc:sldMk cId="146244792" sldId="808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4T18:10:52.300" v="470" actId="255"/>
          <ac:graphicFrameMkLst>
            <pc:docMk/>
            <pc:sldMk cId="146244792" sldId="808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8BA2B171-D546-4C5A-BD3B-6720C76DF600}" dt="2021-03-04T18:13:41.556" v="611" actId="207"/>
        <pc:sldMkLst>
          <pc:docMk/>
          <pc:sldMk cId="786429784" sldId="809"/>
        </pc:sldMkLst>
        <pc:spChg chg="mod">
          <ac:chgData name="christophe CHUECOS-FONT" userId="7e57acaa-4bc6-4644-8edc-0ecdded28594" providerId="ADAL" clId="{8BA2B171-D546-4C5A-BD3B-6720C76DF600}" dt="2021-03-04T18:13:41.556" v="611" actId="207"/>
          <ac:spMkLst>
            <pc:docMk/>
            <pc:sldMk cId="786429784" sldId="809"/>
            <ac:spMk id="2" creationId="{232A2D28-A06C-48FD-ABB4-EB7E27B84308}"/>
          </ac:spMkLst>
        </pc:spChg>
        <pc:graphicFrameChg chg="mod modGraphic">
          <ac:chgData name="christophe CHUECOS-FONT" userId="7e57acaa-4bc6-4644-8edc-0ecdded28594" providerId="ADAL" clId="{8BA2B171-D546-4C5A-BD3B-6720C76DF600}" dt="2021-03-04T18:13:37.456" v="610" actId="207"/>
          <ac:graphicFrameMkLst>
            <pc:docMk/>
            <pc:sldMk cId="786429784" sldId="809"/>
            <ac:graphicFrameMk id="6" creationId="{4A6E514C-D3C4-4B29-BB5C-DB98C7CA5742}"/>
          </ac:graphicFrameMkLst>
        </pc:graphicFrameChg>
      </pc:sldChg>
      <pc:sldChg chg="modSp add mod ord">
        <pc:chgData name="christophe CHUECOS-FONT" userId="7e57acaa-4bc6-4644-8edc-0ecdded28594" providerId="ADAL" clId="{8BA2B171-D546-4C5A-BD3B-6720C76DF600}" dt="2021-03-04T18:19:55.384" v="763" actId="20577"/>
        <pc:sldMkLst>
          <pc:docMk/>
          <pc:sldMk cId="1509567761" sldId="810"/>
        </pc:sldMkLst>
        <pc:spChg chg="mod">
          <ac:chgData name="christophe CHUECOS-FONT" userId="7e57acaa-4bc6-4644-8edc-0ecdded28594" providerId="ADAL" clId="{8BA2B171-D546-4C5A-BD3B-6720C76DF600}" dt="2021-03-04T18:19:23.841" v="739" actId="6549"/>
          <ac:spMkLst>
            <pc:docMk/>
            <pc:sldMk cId="1509567761" sldId="810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4T18:19:55.384" v="763" actId="20577"/>
          <ac:graphicFrameMkLst>
            <pc:docMk/>
            <pc:sldMk cId="1509567761" sldId="810"/>
            <ac:graphicFrameMk id="6" creationId="{4A6E514C-D3C4-4B29-BB5C-DB98C7CA5742}"/>
          </ac:graphicFrameMkLst>
        </pc:graphicFrameChg>
      </pc:sldChg>
      <pc:sldChg chg="add">
        <pc:chgData name="christophe CHUECOS-FONT" userId="7e57acaa-4bc6-4644-8edc-0ecdded28594" providerId="ADAL" clId="{8BA2B171-D546-4C5A-BD3B-6720C76DF600}" dt="2021-03-04T18:20:02.814" v="764" actId="2890"/>
        <pc:sldMkLst>
          <pc:docMk/>
          <pc:sldMk cId="3563599702" sldId="811"/>
        </pc:sldMkLst>
      </pc:sldChg>
      <pc:sldChg chg="modSp add mod ord">
        <pc:chgData name="christophe CHUECOS-FONT" userId="7e57acaa-4bc6-4644-8edc-0ecdded28594" providerId="ADAL" clId="{8BA2B171-D546-4C5A-BD3B-6720C76DF600}" dt="2021-03-04T18:20:52.155" v="796" actId="6549"/>
        <pc:sldMkLst>
          <pc:docMk/>
          <pc:sldMk cId="582496387" sldId="812"/>
        </pc:sldMkLst>
        <pc:spChg chg="mod">
          <ac:chgData name="christophe CHUECOS-FONT" userId="7e57acaa-4bc6-4644-8edc-0ecdded28594" providerId="ADAL" clId="{8BA2B171-D546-4C5A-BD3B-6720C76DF600}" dt="2021-03-04T18:20:52.155" v="796" actId="6549"/>
          <ac:spMkLst>
            <pc:docMk/>
            <pc:sldMk cId="582496387" sldId="812"/>
            <ac:spMk id="2" creationId="{02517F6E-26E9-44E8-815E-774552D95FD0}"/>
          </ac:spMkLst>
        </pc:spChg>
      </pc:sldChg>
      <pc:sldChg chg="addSp delSp modSp add mod ord">
        <pc:chgData name="christophe CHUECOS-FONT" userId="7e57acaa-4bc6-4644-8edc-0ecdded28594" providerId="ADAL" clId="{8BA2B171-D546-4C5A-BD3B-6720C76DF600}" dt="2021-03-05T13:16:52.718" v="4394" actId="14100"/>
        <pc:sldMkLst>
          <pc:docMk/>
          <pc:sldMk cId="1407863262" sldId="813"/>
        </pc:sldMkLst>
        <pc:spChg chg="mod">
          <ac:chgData name="christophe CHUECOS-FONT" userId="7e57acaa-4bc6-4644-8edc-0ecdded28594" providerId="ADAL" clId="{8BA2B171-D546-4C5A-BD3B-6720C76DF600}" dt="2021-03-05T13:16:37.625" v="4389" actId="1076"/>
          <ac:spMkLst>
            <pc:docMk/>
            <pc:sldMk cId="1407863262" sldId="813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8BA2B171-D546-4C5A-BD3B-6720C76DF600}" dt="2021-03-05T13:16:52.718" v="4394" actId="14100"/>
          <ac:spMkLst>
            <pc:docMk/>
            <pc:sldMk cId="1407863262" sldId="813"/>
            <ac:spMk id="3" creationId="{060668A1-F703-43F0-AA81-AEEE6C0B4942}"/>
          </ac:spMkLst>
        </pc:spChg>
        <pc:spChg chg="add del mod">
          <ac:chgData name="christophe CHUECOS-FONT" userId="7e57acaa-4bc6-4644-8edc-0ecdded28594" providerId="ADAL" clId="{8BA2B171-D546-4C5A-BD3B-6720C76DF600}" dt="2021-03-05T13:07:44.805" v="3937" actId="14826"/>
          <ac:spMkLst>
            <pc:docMk/>
            <pc:sldMk cId="1407863262" sldId="813"/>
            <ac:spMk id="4" creationId="{FD29105F-5839-4EE3-ACF8-DE3B8C200AA0}"/>
          </ac:spMkLst>
        </pc:spChg>
        <pc:spChg chg="del">
          <ac:chgData name="christophe CHUECOS-FONT" userId="7e57acaa-4bc6-4644-8edc-0ecdded28594" providerId="ADAL" clId="{8BA2B171-D546-4C5A-BD3B-6720C76DF600}" dt="2021-03-05T13:06:18.247" v="3933" actId="26606"/>
          <ac:spMkLst>
            <pc:docMk/>
            <pc:sldMk cId="1407863262" sldId="813"/>
            <ac:spMk id="26" creationId="{8FC9BE17-9A7B-462D-AE50-3D8777387304}"/>
          </ac:spMkLst>
        </pc:spChg>
        <pc:spChg chg="del">
          <ac:chgData name="christophe CHUECOS-FONT" userId="7e57acaa-4bc6-4644-8edc-0ecdded28594" providerId="ADAL" clId="{8BA2B171-D546-4C5A-BD3B-6720C76DF600}" dt="2021-03-05T13:06:18.247" v="3933" actId="26606"/>
          <ac:spMkLst>
            <pc:docMk/>
            <pc:sldMk cId="1407863262" sldId="813"/>
            <ac:spMk id="28" creationId="{3EBE8569-6AEC-4B8C-8D53-2DE337CDBA65}"/>
          </ac:spMkLst>
        </pc:spChg>
        <pc:spChg chg="del">
          <ac:chgData name="christophe CHUECOS-FONT" userId="7e57acaa-4bc6-4644-8edc-0ecdded28594" providerId="ADAL" clId="{8BA2B171-D546-4C5A-BD3B-6720C76DF600}" dt="2021-03-05T13:06:18.247" v="3933" actId="26606"/>
          <ac:spMkLst>
            <pc:docMk/>
            <pc:sldMk cId="1407863262" sldId="813"/>
            <ac:spMk id="30" creationId="{55D4142C-5077-457F-A6AD-3FECFDB39685}"/>
          </ac:spMkLst>
        </pc:spChg>
        <pc:spChg chg="del">
          <ac:chgData name="christophe CHUECOS-FONT" userId="7e57acaa-4bc6-4644-8edc-0ecdded28594" providerId="ADAL" clId="{8BA2B171-D546-4C5A-BD3B-6720C76DF600}" dt="2021-03-05T13:06:18.247" v="3933" actId="26606"/>
          <ac:spMkLst>
            <pc:docMk/>
            <pc:sldMk cId="1407863262" sldId="813"/>
            <ac:spMk id="32" creationId="{7A5F0580-5EE9-419F-96EE-B6529EF6E7D0}"/>
          </ac:spMkLst>
        </pc:spChg>
        <pc:spChg chg="add">
          <ac:chgData name="christophe CHUECOS-FONT" userId="7e57acaa-4bc6-4644-8edc-0ecdded28594" providerId="ADAL" clId="{8BA2B171-D546-4C5A-BD3B-6720C76DF600}" dt="2021-03-05T13:06:18.247" v="3933" actId="26606"/>
          <ac:spMkLst>
            <pc:docMk/>
            <pc:sldMk cId="1407863262" sldId="813"/>
            <ac:spMk id="37" creationId="{8FC9BE17-9A7B-462D-AE50-3D8777387304}"/>
          </ac:spMkLst>
        </pc:spChg>
        <pc:spChg chg="add">
          <ac:chgData name="christophe CHUECOS-FONT" userId="7e57acaa-4bc6-4644-8edc-0ecdded28594" providerId="ADAL" clId="{8BA2B171-D546-4C5A-BD3B-6720C76DF600}" dt="2021-03-05T13:06:18.247" v="3933" actId="26606"/>
          <ac:spMkLst>
            <pc:docMk/>
            <pc:sldMk cId="1407863262" sldId="813"/>
            <ac:spMk id="39" creationId="{3EBE8569-6AEC-4B8C-8D53-2DE337CDBA65}"/>
          </ac:spMkLst>
        </pc:spChg>
        <pc:spChg chg="add">
          <ac:chgData name="christophe CHUECOS-FONT" userId="7e57acaa-4bc6-4644-8edc-0ecdded28594" providerId="ADAL" clId="{8BA2B171-D546-4C5A-BD3B-6720C76DF600}" dt="2021-03-05T13:06:18.247" v="3933" actId="26606"/>
          <ac:spMkLst>
            <pc:docMk/>
            <pc:sldMk cId="1407863262" sldId="813"/>
            <ac:spMk id="41" creationId="{55D4142C-5077-457F-A6AD-3FECFDB39685}"/>
          </ac:spMkLst>
        </pc:spChg>
        <pc:spChg chg="add">
          <ac:chgData name="christophe CHUECOS-FONT" userId="7e57acaa-4bc6-4644-8edc-0ecdded28594" providerId="ADAL" clId="{8BA2B171-D546-4C5A-BD3B-6720C76DF600}" dt="2021-03-05T13:06:18.247" v="3933" actId="26606"/>
          <ac:spMkLst>
            <pc:docMk/>
            <pc:sldMk cId="1407863262" sldId="813"/>
            <ac:spMk id="43" creationId="{7A5F0580-5EE9-419F-96EE-B6529EF6E7D0}"/>
          </ac:spMkLst>
        </pc:spChg>
        <pc:picChg chg="mod">
          <ac:chgData name="christophe CHUECOS-FONT" userId="7e57acaa-4bc6-4644-8edc-0ecdded28594" providerId="ADAL" clId="{8BA2B171-D546-4C5A-BD3B-6720C76DF600}" dt="2021-03-05T13:16:47.744" v="4393" actId="14100"/>
          <ac:picMkLst>
            <pc:docMk/>
            <pc:sldMk cId="1407863262" sldId="813"/>
            <ac:picMk id="12" creationId="{1FD79E4A-E80D-4BA5-BEA9-44F693117FDC}"/>
          </ac:picMkLst>
        </pc:picChg>
      </pc:sldChg>
      <pc:sldChg chg="modSp add mod ord">
        <pc:chgData name="christophe CHUECOS-FONT" userId="7e57acaa-4bc6-4644-8edc-0ecdded28594" providerId="ADAL" clId="{8BA2B171-D546-4C5A-BD3B-6720C76DF600}" dt="2021-03-05T07:15:46.712" v="1434" actId="113"/>
        <pc:sldMkLst>
          <pc:docMk/>
          <pc:sldMk cId="2694326480" sldId="814"/>
        </pc:sldMkLst>
        <pc:spChg chg="mod">
          <ac:chgData name="christophe CHUECOS-FONT" userId="7e57acaa-4bc6-4644-8edc-0ecdded28594" providerId="ADAL" clId="{8BA2B171-D546-4C5A-BD3B-6720C76DF600}" dt="2021-03-05T07:14:36.734" v="1348" actId="6549"/>
          <ac:spMkLst>
            <pc:docMk/>
            <pc:sldMk cId="2694326480" sldId="814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07:15:46.712" v="1434" actId="113"/>
          <ac:graphicFrameMkLst>
            <pc:docMk/>
            <pc:sldMk cId="2694326480" sldId="814"/>
            <ac:graphicFrameMk id="6" creationId="{4A6E514C-D3C4-4B29-BB5C-DB98C7CA5742}"/>
          </ac:graphicFrameMkLst>
        </pc:graphicFrameChg>
      </pc:sldChg>
      <pc:sldChg chg="addSp delSp modSp new mod">
        <pc:chgData name="christophe CHUECOS-FONT" userId="7e57acaa-4bc6-4644-8edc-0ecdded28594" providerId="ADAL" clId="{8BA2B171-D546-4C5A-BD3B-6720C76DF600}" dt="2021-03-05T13:43:54.599" v="5060" actId="20577"/>
        <pc:sldMkLst>
          <pc:docMk/>
          <pc:sldMk cId="3302025266" sldId="815"/>
        </pc:sldMkLst>
        <pc:spChg chg="mod">
          <ac:chgData name="christophe CHUECOS-FONT" userId="7e57acaa-4bc6-4644-8edc-0ecdded28594" providerId="ADAL" clId="{8BA2B171-D546-4C5A-BD3B-6720C76DF600}" dt="2021-03-05T13:43:54.599" v="5060" actId="20577"/>
          <ac:spMkLst>
            <pc:docMk/>
            <pc:sldMk cId="3302025266" sldId="815"/>
            <ac:spMk id="2" creationId="{650CA3A3-8FF3-49D3-89E1-FC074AC57FDE}"/>
          </ac:spMkLst>
        </pc:spChg>
        <pc:spChg chg="del">
          <ac:chgData name="christophe CHUECOS-FONT" userId="7e57acaa-4bc6-4644-8edc-0ecdded28594" providerId="ADAL" clId="{8BA2B171-D546-4C5A-BD3B-6720C76DF600}" dt="2021-03-05T07:01:22.492" v="830"/>
          <ac:spMkLst>
            <pc:docMk/>
            <pc:sldMk cId="3302025266" sldId="815"/>
            <ac:spMk id="3" creationId="{F6B96FB3-2E0A-41FF-B5B5-52DC552083FB}"/>
          </ac:spMkLst>
        </pc:spChg>
        <pc:spChg chg="add mod">
          <ac:chgData name="christophe CHUECOS-FONT" userId="7e57acaa-4bc6-4644-8edc-0ecdded28594" providerId="ADAL" clId="{8BA2B171-D546-4C5A-BD3B-6720C76DF600}" dt="2021-03-05T13:43:45.336" v="5038" actId="6549"/>
          <ac:spMkLst>
            <pc:docMk/>
            <pc:sldMk cId="3302025266" sldId="815"/>
            <ac:spMk id="8" creationId="{2B40BEF8-CFB5-4BB8-9553-03C8C868FB07}"/>
          </ac:spMkLst>
        </pc:spChg>
        <pc:graphicFrameChg chg="add mod modGraphic">
          <ac:chgData name="christophe CHUECOS-FONT" userId="7e57acaa-4bc6-4644-8edc-0ecdded28594" providerId="ADAL" clId="{8BA2B171-D546-4C5A-BD3B-6720C76DF600}" dt="2021-03-05T07:01:54.542" v="853" actId="14100"/>
          <ac:graphicFrameMkLst>
            <pc:docMk/>
            <pc:sldMk cId="3302025266" sldId="815"/>
            <ac:graphicFrameMk id="4" creationId="{BA81507D-D90C-4603-85E1-C166467088FB}"/>
          </ac:graphicFrameMkLst>
        </pc:graphicFrameChg>
        <pc:picChg chg="add del mod">
          <ac:chgData name="christophe CHUECOS-FONT" userId="7e57acaa-4bc6-4644-8edc-0ecdded28594" providerId="ADAL" clId="{8BA2B171-D546-4C5A-BD3B-6720C76DF600}" dt="2021-03-05T13:43:20.078" v="5013" actId="478"/>
          <ac:picMkLst>
            <pc:docMk/>
            <pc:sldMk cId="3302025266" sldId="815"/>
            <ac:picMk id="9" creationId="{1E1823D4-DF82-484C-A746-AF86634F3EF3}"/>
          </ac:picMkLst>
        </pc:picChg>
        <pc:picChg chg="add mod">
          <ac:chgData name="christophe CHUECOS-FONT" userId="7e57acaa-4bc6-4644-8edc-0ecdded28594" providerId="ADAL" clId="{8BA2B171-D546-4C5A-BD3B-6720C76DF600}" dt="2021-03-05T13:43:39.503" v="5027" actId="1076"/>
          <ac:picMkLst>
            <pc:docMk/>
            <pc:sldMk cId="3302025266" sldId="815"/>
            <ac:picMk id="10" creationId="{67736560-5084-45D8-90A3-82DD0F1F5071}"/>
          </ac:picMkLst>
        </pc:picChg>
        <pc:cxnChg chg="add mod">
          <ac:chgData name="christophe CHUECOS-FONT" userId="7e57acaa-4bc6-4644-8edc-0ecdded28594" providerId="ADAL" clId="{8BA2B171-D546-4C5A-BD3B-6720C76DF600}" dt="2021-03-05T13:42:08.409" v="4980" actId="13822"/>
          <ac:cxnSpMkLst>
            <pc:docMk/>
            <pc:sldMk cId="3302025266" sldId="815"/>
            <ac:cxnSpMk id="5" creationId="{CC43CAEA-E3A8-40C9-B212-3DF0AC1D9ABB}"/>
          </ac:cxnSpMkLst>
        </pc:cxnChg>
        <pc:cxnChg chg="add mod">
          <ac:chgData name="christophe CHUECOS-FONT" userId="7e57acaa-4bc6-4644-8edc-0ecdded28594" providerId="ADAL" clId="{8BA2B171-D546-4C5A-BD3B-6720C76DF600}" dt="2021-03-05T13:42:10.916" v="4981" actId="13822"/>
          <ac:cxnSpMkLst>
            <pc:docMk/>
            <pc:sldMk cId="3302025266" sldId="815"/>
            <ac:cxnSpMk id="7" creationId="{C4BC9D37-EDDD-4C03-AE83-FF68509E2E41}"/>
          </ac:cxnSpMkLst>
        </pc:cxnChg>
      </pc:sldChg>
      <pc:sldChg chg="modSp add mod ord">
        <pc:chgData name="christophe CHUECOS-FONT" userId="7e57acaa-4bc6-4644-8edc-0ecdded28594" providerId="ADAL" clId="{8BA2B171-D546-4C5A-BD3B-6720C76DF600}" dt="2021-03-05T07:02:47.792" v="879" actId="6549"/>
        <pc:sldMkLst>
          <pc:docMk/>
          <pc:sldMk cId="1406193019" sldId="816"/>
        </pc:sldMkLst>
        <pc:spChg chg="mod">
          <ac:chgData name="christophe CHUECOS-FONT" userId="7e57acaa-4bc6-4644-8edc-0ecdded28594" providerId="ADAL" clId="{8BA2B171-D546-4C5A-BD3B-6720C76DF600}" dt="2021-03-05T07:02:47.792" v="879" actId="6549"/>
          <ac:spMkLst>
            <pc:docMk/>
            <pc:sldMk cId="1406193019" sldId="816"/>
            <ac:spMk id="2" creationId="{02517F6E-26E9-44E8-815E-774552D95FD0}"/>
          </ac:spMkLst>
        </pc:spChg>
      </pc:sldChg>
      <pc:sldChg chg="addSp delSp modSp new mod">
        <pc:chgData name="christophe CHUECOS-FONT" userId="7e57acaa-4bc6-4644-8edc-0ecdded28594" providerId="ADAL" clId="{8BA2B171-D546-4C5A-BD3B-6720C76DF600}" dt="2021-03-05T13:44:13.729" v="5085" actId="20577"/>
        <pc:sldMkLst>
          <pc:docMk/>
          <pc:sldMk cId="2821461674" sldId="817"/>
        </pc:sldMkLst>
        <pc:spChg chg="mod">
          <ac:chgData name="christophe CHUECOS-FONT" userId="7e57acaa-4bc6-4644-8edc-0ecdded28594" providerId="ADAL" clId="{8BA2B171-D546-4C5A-BD3B-6720C76DF600}" dt="2021-03-05T13:44:13.729" v="5085" actId="20577"/>
          <ac:spMkLst>
            <pc:docMk/>
            <pc:sldMk cId="2821461674" sldId="817"/>
            <ac:spMk id="2" creationId="{7555E439-5E5F-408B-B822-8B5656311B4B}"/>
          </ac:spMkLst>
        </pc:spChg>
        <pc:spChg chg="del">
          <ac:chgData name="christophe CHUECOS-FONT" userId="7e57acaa-4bc6-4644-8edc-0ecdded28594" providerId="ADAL" clId="{8BA2B171-D546-4C5A-BD3B-6720C76DF600}" dt="2021-03-05T07:03:42.974" v="881"/>
          <ac:spMkLst>
            <pc:docMk/>
            <pc:sldMk cId="2821461674" sldId="817"/>
            <ac:spMk id="3" creationId="{C8009629-4B8A-480D-92F4-FBFBE14D622A}"/>
          </ac:spMkLst>
        </pc:spChg>
        <pc:graphicFrameChg chg="add mod modGraphic">
          <ac:chgData name="christophe CHUECOS-FONT" userId="7e57acaa-4bc6-4644-8edc-0ecdded28594" providerId="ADAL" clId="{8BA2B171-D546-4C5A-BD3B-6720C76DF600}" dt="2021-03-05T07:04:09.812" v="903" actId="14100"/>
          <ac:graphicFrameMkLst>
            <pc:docMk/>
            <pc:sldMk cId="2821461674" sldId="817"/>
            <ac:graphicFrameMk id="4" creationId="{2BB38C51-ABA6-4C40-90FA-4045E135E702}"/>
          </ac:graphicFrameMkLst>
        </pc:graphicFrameChg>
      </pc:sldChg>
      <pc:sldChg chg="addSp delSp modSp new mod">
        <pc:chgData name="christophe CHUECOS-FONT" userId="7e57acaa-4bc6-4644-8edc-0ecdded28594" providerId="ADAL" clId="{8BA2B171-D546-4C5A-BD3B-6720C76DF600}" dt="2021-03-05T07:07:13.956" v="1014" actId="14100"/>
        <pc:sldMkLst>
          <pc:docMk/>
          <pc:sldMk cId="1907489512" sldId="818"/>
        </pc:sldMkLst>
        <pc:spChg chg="del mod">
          <ac:chgData name="christophe CHUECOS-FONT" userId="7e57acaa-4bc6-4644-8edc-0ecdded28594" providerId="ADAL" clId="{8BA2B171-D546-4C5A-BD3B-6720C76DF600}" dt="2021-03-05T07:07:09.157" v="1013" actId="21"/>
          <ac:spMkLst>
            <pc:docMk/>
            <pc:sldMk cId="1907489512" sldId="818"/>
            <ac:spMk id="2" creationId="{6306F818-CBB0-463A-8870-4D45E349D765}"/>
          </ac:spMkLst>
        </pc:spChg>
        <pc:spChg chg="del">
          <ac:chgData name="christophe CHUECOS-FONT" userId="7e57acaa-4bc6-4644-8edc-0ecdded28594" providerId="ADAL" clId="{8BA2B171-D546-4C5A-BD3B-6720C76DF600}" dt="2021-03-05T07:04:45.229" v="905"/>
          <ac:spMkLst>
            <pc:docMk/>
            <pc:sldMk cId="1907489512" sldId="818"/>
            <ac:spMk id="3" creationId="{052114EC-EE19-4446-83F1-7605BEF01AA0}"/>
          </ac:spMkLst>
        </pc:spChg>
        <pc:graphicFrameChg chg="add mod modGraphic">
          <ac:chgData name="christophe CHUECOS-FONT" userId="7e57acaa-4bc6-4644-8edc-0ecdded28594" providerId="ADAL" clId="{8BA2B171-D546-4C5A-BD3B-6720C76DF600}" dt="2021-03-05T07:07:13.956" v="1014" actId="14100"/>
          <ac:graphicFrameMkLst>
            <pc:docMk/>
            <pc:sldMk cId="1907489512" sldId="818"/>
            <ac:graphicFrameMk id="4" creationId="{4FF09D10-F213-4F96-8023-14F56788AA81}"/>
          </ac:graphicFrameMkLst>
        </pc:graphicFrameChg>
      </pc:sldChg>
      <pc:sldChg chg="delSp modSp add mod">
        <pc:chgData name="christophe CHUECOS-FONT" userId="7e57acaa-4bc6-4644-8edc-0ecdded28594" providerId="ADAL" clId="{8BA2B171-D546-4C5A-BD3B-6720C76DF600}" dt="2021-03-05T07:06:53.035" v="1011" actId="14100"/>
        <pc:sldMkLst>
          <pc:docMk/>
          <pc:sldMk cId="205809851" sldId="819"/>
        </pc:sldMkLst>
        <pc:spChg chg="del mod">
          <ac:chgData name="christophe CHUECOS-FONT" userId="7e57acaa-4bc6-4644-8edc-0ecdded28594" providerId="ADAL" clId="{8BA2B171-D546-4C5A-BD3B-6720C76DF600}" dt="2021-03-05T07:06:44.405" v="1009" actId="21"/>
          <ac:spMkLst>
            <pc:docMk/>
            <pc:sldMk cId="205809851" sldId="819"/>
            <ac:spMk id="2" creationId="{6306F818-CBB0-463A-8870-4D45E349D765}"/>
          </ac:spMkLst>
        </pc:spChg>
        <pc:graphicFrameChg chg="mod modGraphic">
          <ac:chgData name="christophe CHUECOS-FONT" userId="7e57acaa-4bc6-4644-8edc-0ecdded28594" providerId="ADAL" clId="{8BA2B171-D546-4C5A-BD3B-6720C76DF600}" dt="2021-03-05T07:06:53.035" v="1011" actId="14100"/>
          <ac:graphicFrameMkLst>
            <pc:docMk/>
            <pc:sldMk cId="205809851" sldId="819"/>
            <ac:graphicFrameMk id="4" creationId="{4FF09D10-F213-4F96-8023-14F56788AA81}"/>
          </ac:graphicFrameMkLst>
        </pc:graphicFrameChg>
      </pc:sldChg>
      <pc:sldChg chg="modSp add del ord">
        <pc:chgData name="christophe CHUECOS-FONT" userId="7e57acaa-4bc6-4644-8edc-0ecdded28594" providerId="ADAL" clId="{8BA2B171-D546-4C5A-BD3B-6720C76DF600}" dt="2021-03-05T07:08:48.210" v="1019" actId="47"/>
        <pc:sldMkLst>
          <pc:docMk/>
          <pc:sldMk cId="276559481" sldId="820"/>
        </pc:sldMkLst>
        <pc:graphicFrameChg chg="mod">
          <ac:chgData name="christophe CHUECOS-FONT" userId="7e57acaa-4bc6-4644-8edc-0ecdded28594" providerId="ADAL" clId="{8BA2B171-D546-4C5A-BD3B-6720C76DF600}" dt="2021-03-05T07:08:42.763" v="1018" actId="478"/>
          <ac:graphicFrameMkLst>
            <pc:docMk/>
            <pc:sldMk cId="276559481" sldId="820"/>
            <ac:graphicFrameMk id="5" creationId="{0C899C7D-CFDA-4D32-B2E9-07B40C3BB1B2}"/>
          </ac:graphicFrameMkLst>
        </pc:graphicFrameChg>
      </pc:sldChg>
      <pc:sldChg chg="add">
        <pc:chgData name="christophe CHUECOS-FONT" userId="7e57acaa-4bc6-4644-8edc-0ecdded28594" providerId="ADAL" clId="{8BA2B171-D546-4C5A-BD3B-6720C76DF600}" dt="2021-03-05T07:09:04.409" v="1020" actId="2890"/>
        <pc:sldMkLst>
          <pc:docMk/>
          <pc:sldMk cId="3840082568" sldId="820"/>
        </pc:sldMkLst>
      </pc:sldChg>
      <pc:sldChg chg="modSp add mod">
        <pc:chgData name="christophe CHUECOS-FONT" userId="7e57acaa-4bc6-4644-8edc-0ecdded28594" providerId="ADAL" clId="{8BA2B171-D546-4C5A-BD3B-6720C76DF600}" dt="2021-03-05T07:18:41.976" v="1926" actId="113"/>
        <pc:sldMkLst>
          <pc:docMk/>
          <pc:sldMk cId="3405380316" sldId="821"/>
        </pc:sldMkLst>
        <pc:spChg chg="mod">
          <ac:chgData name="christophe CHUECOS-FONT" userId="7e57acaa-4bc6-4644-8edc-0ecdded28594" providerId="ADAL" clId="{8BA2B171-D546-4C5A-BD3B-6720C76DF600}" dt="2021-03-05T07:18:17.927" v="1923" actId="6549"/>
          <ac:spMkLst>
            <pc:docMk/>
            <pc:sldMk cId="3405380316" sldId="821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07:18:41.976" v="1926" actId="113"/>
          <ac:graphicFrameMkLst>
            <pc:docMk/>
            <pc:sldMk cId="3405380316" sldId="821"/>
            <ac:graphicFrameMk id="6" creationId="{4A6E514C-D3C4-4B29-BB5C-DB98C7CA5742}"/>
          </ac:graphicFrameMkLst>
        </pc:graphicFrameChg>
      </pc:sldChg>
      <pc:sldChg chg="modSp add">
        <pc:chgData name="christophe CHUECOS-FONT" userId="7e57acaa-4bc6-4644-8edc-0ecdded28594" providerId="ADAL" clId="{8BA2B171-D546-4C5A-BD3B-6720C76DF600}" dt="2021-03-05T07:21:57.126" v="1938" actId="255"/>
        <pc:sldMkLst>
          <pc:docMk/>
          <pc:sldMk cId="1547220275" sldId="822"/>
        </pc:sldMkLst>
        <pc:graphicFrameChg chg="mod">
          <ac:chgData name="christophe CHUECOS-FONT" userId="7e57acaa-4bc6-4644-8edc-0ecdded28594" providerId="ADAL" clId="{8BA2B171-D546-4C5A-BD3B-6720C76DF600}" dt="2021-03-05T07:21:57.126" v="1938" actId="255"/>
          <ac:graphicFrameMkLst>
            <pc:docMk/>
            <pc:sldMk cId="1547220275" sldId="822"/>
            <ac:graphicFrameMk id="6" creationId="{4A6E514C-D3C4-4B29-BB5C-DB98C7CA5742}"/>
          </ac:graphicFrameMkLst>
        </pc:graphicFrameChg>
      </pc:sldChg>
      <pc:sldChg chg="modSp new mod">
        <pc:chgData name="christophe CHUECOS-FONT" userId="7e57acaa-4bc6-4644-8edc-0ecdded28594" providerId="ADAL" clId="{8BA2B171-D546-4C5A-BD3B-6720C76DF600}" dt="2021-03-05T07:23:52.390" v="2158" actId="20577"/>
        <pc:sldMkLst>
          <pc:docMk/>
          <pc:sldMk cId="3567573206" sldId="823"/>
        </pc:sldMkLst>
        <pc:spChg chg="mod">
          <ac:chgData name="christophe CHUECOS-FONT" userId="7e57acaa-4bc6-4644-8edc-0ecdded28594" providerId="ADAL" clId="{8BA2B171-D546-4C5A-BD3B-6720C76DF600}" dt="2021-03-05T07:22:17.413" v="1972" actId="20577"/>
          <ac:spMkLst>
            <pc:docMk/>
            <pc:sldMk cId="3567573206" sldId="823"/>
            <ac:spMk id="2" creationId="{CF7423E2-1513-44EB-8D52-91ACCB7F5E77}"/>
          </ac:spMkLst>
        </pc:spChg>
        <pc:spChg chg="mod">
          <ac:chgData name="christophe CHUECOS-FONT" userId="7e57acaa-4bc6-4644-8edc-0ecdded28594" providerId="ADAL" clId="{8BA2B171-D546-4C5A-BD3B-6720C76DF600}" dt="2021-03-05T07:23:52.390" v="2158" actId="20577"/>
          <ac:spMkLst>
            <pc:docMk/>
            <pc:sldMk cId="3567573206" sldId="823"/>
            <ac:spMk id="3" creationId="{0427D4CA-BC17-4FBA-9989-9B788ADD5BDA}"/>
          </ac:spMkLst>
        </pc:spChg>
      </pc:sldChg>
      <pc:sldChg chg="modSp add mod">
        <pc:chgData name="christophe CHUECOS-FONT" userId="7e57acaa-4bc6-4644-8edc-0ecdded28594" providerId="ADAL" clId="{8BA2B171-D546-4C5A-BD3B-6720C76DF600}" dt="2021-03-05T10:52:04.947" v="2541" actId="20577"/>
        <pc:sldMkLst>
          <pc:docMk/>
          <pc:sldMk cId="3179233242" sldId="824"/>
        </pc:sldMkLst>
        <pc:spChg chg="mod">
          <ac:chgData name="christophe CHUECOS-FONT" userId="7e57acaa-4bc6-4644-8edc-0ecdded28594" providerId="ADAL" clId="{8BA2B171-D546-4C5A-BD3B-6720C76DF600}" dt="2021-03-05T10:51:07.878" v="2355" actId="20577"/>
          <ac:spMkLst>
            <pc:docMk/>
            <pc:sldMk cId="3179233242" sldId="824"/>
            <ac:spMk id="2" creationId="{CF7423E2-1513-44EB-8D52-91ACCB7F5E77}"/>
          </ac:spMkLst>
        </pc:spChg>
        <pc:spChg chg="mod">
          <ac:chgData name="christophe CHUECOS-FONT" userId="7e57acaa-4bc6-4644-8edc-0ecdded28594" providerId="ADAL" clId="{8BA2B171-D546-4C5A-BD3B-6720C76DF600}" dt="2021-03-05T10:52:04.947" v="2541" actId="20577"/>
          <ac:spMkLst>
            <pc:docMk/>
            <pc:sldMk cId="3179233242" sldId="824"/>
            <ac:spMk id="3" creationId="{0427D4CA-BC17-4FBA-9989-9B788ADD5BDA}"/>
          </ac:spMkLst>
        </pc:spChg>
      </pc:sldChg>
      <pc:sldChg chg="addSp delSp modSp add mod">
        <pc:chgData name="christophe CHUECOS-FONT" userId="7e57acaa-4bc6-4644-8edc-0ecdded28594" providerId="ADAL" clId="{8BA2B171-D546-4C5A-BD3B-6720C76DF600}" dt="2021-03-05T07:27:00.666" v="2339" actId="26606"/>
        <pc:sldMkLst>
          <pc:docMk/>
          <pc:sldMk cId="3701531802" sldId="825"/>
        </pc:sldMkLst>
        <pc:spChg chg="mod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2" creationId="{02517F6E-26E9-44E8-815E-774552D95FD0}"/>
          </ac:spMkLst>
        </pc:spChg>
        <pc:spChg chg="ord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4" creationId="{AE196125-F657-4A8D-BF6F-9D35E2A19BAA}"/>
          </ac:spMkLst>
        </pc:spChg>
        <pc:spChg chg="ord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5" creationId="{DFEA2082-E7DE-4453-8158-54F380B94285}"/>
          </ac:spMkLst>
        </pc:spChg>
        <pc:spChg chg="mod ord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23" creationId="{61BA051E-0D20-4CC3-9958-C0CFDE297C40}"/>
          </ac:spMkLst>
        </pc:spChg>
        <pc:spChg chg="add del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84" creationId="{F13C74B1-5B17-4795-BED0-7140497B445A}"/>
          </ac:spMkLst>
        </pc:spChg>
        <pc:spChg chg="add del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86" creationId="{D4974D33-8DC5-464E-8C6D-BE58F0669C17}"/>
          </ac:spMkLst>
        </pc:spChg>
        <pc:spChg chg="add del">
          <ac:chgData name="christophe CHUECOS-FONT" userId="7e57acaa-4bc6-4644-8edc-0ecdded28594" providerId="ADAL" clId="{8BA2B171-D546-4C5A-BD3B-6720C76DF600}" dt="2021-03-05T07:27:00.634" v="2338" actId="26606"/>
          <ac:spMkLst>
            <pc:docMk/>
            <pc:sldMk cId="3701531802" sldId="825"/>
            <ac:spMk id="91" creationId="{C232B152-3720-4D3B-97ED-45CE5483F16F}"/>
          </ac:spMkLst>
        </pc:spChg>
        <pc:spChg chg="add del">
          <ac:chgData name="christophe CHUECOS-FONT" userId="7e57acaa-4bc6-4644-8edc-0ecdded28594" providerId="ADAL" clId="{8BA2B171-D546-4C5A-BD3B-6720C76DF600}" dt="2021-03-05T07:27:00.634" v="2338" actId="26606"/>
          <ac:spMkLst>
            <pc:docMk/>
            <pc:sldMk cId="3701531802" sldId="825"/>
            <ac:spMk id="93" creationId="{11BAB570-FF10-4E96-8A3F-FA9804702B89}"/>
          </ac:spMkLst>
        </pc:spChg>
        <pc:spChg chg="add del">
          <ac:chgData name="christophe CHUECOS-FONT" userId="7e57acaa-4bc6-4644-8edc-0ecdded28594" providerId="ADAL" clId="{8BA2B171-D546-4C5A-BD3B-6720C76DF600}" dt="2021-03-05T07:27:00.634" v="2338" actId="26606"/>
          <ac:spMkLst>
            <pc:docMk/>
            <pc:sldMk cId="3701531802" sldId="825"/>
            <ac:spMk id="95" creationId="{4B9FAFB2-BEB5-4848-8018-BCAD99E2E1AA}"/>
          </ac:spMkLst>
        </pc:spChg>
        <pc:spChg chg="add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118" creationId="{1C574E90-1949-4924-B663-AEA13DB7910B}"/>
          </ac:spMkLst>
        </pc:spChg>
        <pc:spChg chg="add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119" creationId="{A5271697-90F1-4A23-8EF2-0179F2EAFACB}"/>
          </ac:spMkLst>
        </pc:spChg>
        <pc:spChg chg="add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120" creationId="{3CD1EA40-7116-4FCB-9369-70F29FAA91EC}"/>
          </ac:spMkLst>
        </pc:spChg>
        <pc:spChg chg="add">
          <ac:chgData name="christophe CHUECOS-FONT" userId="7e57acaa-4bc6-4644-8edc-0ecdded28594" providerId="ADAL" clId="{8BA2B171-D546-4C5A-BD3B-6720C76DF600}" dt="2021-03-05T07:27:00.666" v="2339" actId="26606"/>
          <ac:spMkLst>
            <pc:docMk/>
            <pc:sldMk cId="3701531802" sldId="825"/>
            <ac:spMk id="121" creationId="{D9F5512A-48E1-4C07-B75E-3CCC517B6804}"/>
          </ac:spMkLst>
        </pc:spChg>
        <pc:grpChg chg="add">
          <ac:chgData name="christophe CHUECOS-FONT" userId="7e57acaa-4bc6-4644-8edc-0ecdded28594" providerId="ADAL" clId="{8BA2B171-D546-4C5A-BD3B-6720C76DF600}" dt="2021-03-05T07:27:00.666" v="2339" actId="26606"/>
          <ac:grpSpMkLst>
            <pc:docMk/>
            <pc:sldMk cId="3701531802" sldId="825"/>
            <ac:grpSpMk id="97" creationId="{9CF1CD8B-D430-49E7-8630-84152C414EAC}"/>
          </ac:grpSpMkLst>
        </pc:grpChg>
        <pc:picChg chg="mod">
          <ac:chgData name="christophe CHUECOS-FONT" userId="7e57acaa-4bc6-4644-8edc-0ecdded28594" providerId="ADAL" clId="{8BA2B171-D546-4C5A-BD3B-6720C76DF600}" dt="2021-03-05T07:27:00.666" v="2339" actId="26606"/>
          <ac:picMkLst>
            <pc:docMk/>
            <pc:sldMk cId="3701531802" sldId="825"/>
            <ac:picMk id="36" creationId="{FC9EF324-339C-4E46-9508-BF0C86AAC793}"/>
          </ac:picMkLst>
        </pc:picChg>
      </pc:sldChg>
      <pc:sldChg chg="modSp add del mod">
        <pc:chgData name="christophe CHUECOS-FONT" userId="7e57acaa-4bc6-4644-8edc-0ecdded28594" providerId="ADAL" clId="{8BA2B171-D546-4C5A-BD3B-6720C76DF600}" dt="2021-03-05T10:52:10.594" v="2542" actId="47"/>
        <pc:sldMkLst>
          <pc:docMk/>
          <pc:sldMk cId="3484497347" sldId="826"/>
        </pc:sldMkLst>
        <pc:spChg chg="mod">
          <ac:chgData name="christophe CHUECOS-FONT" userId="7e57acaa-4bc6-4644-8edc-0ecdded28594" providerId="ADAL" clId="{8BA2B171-D546-4C5A-BD3B-6720C76DF600}" dt="2021-03-05T10:50:56.215" v="2346" actId="20577"/>
          <ac:spMkLst>
            <pc:docMk/>
            <pc:sldMk cId="3484497347" sldId="826"/>
            <ac:spMk id="2" creationId="{CF7423E2-1513-44EB-8D52-91ACCB7F5E77}"/>
          </ac:spMkLst>
        </pc:spChg>
      </pc:sldChg>
      <pc:sldChg chg="modSp add mod">
        <pc:chgData name="christophe CHUECOS-FONT" userId="7e57acaa-4bc6-4644-8edc-0ecdded28594" providerId="ADAL" clId="{8BA2B171-D546-4C5A-BD3B-6720C76DF600}" dt="2021-03-05T11:15:09.014" v="2835" actId="21"/>
        <pc:sldMkLst>
          <pc:docMk/>
          <pc:sldMk cId="4279974492" sldId="826"/>
        </pc:sldMkLst>
        <pc:spChg chg="mod">
          <ac:chgData name="christophe CHUECOS-FONT" userId="7e57acaa-4bc6-4644-8edc-0ecdded28594" providerId="ADAL" clId="{8BA2B171-D546-4C5A-BD3B-6720C76DF600}" dt="2021-03-05T11:05:21.766" v="2583" actId="20577"/>
          <ac:spMkLst>
            <pc:docMk/>
            <pc:sldMk cId="4279974492" sldId="826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8BA2B171-D546-4C5A-BD3B-6720C76DF600}" dt="2021-03-05T11:15:09.014" v="2835" actId="21"/>
          <ac:spMkLst>
            <pc:docMk/>
            <pc:sldMk cId="4279974492" sldId="826"/>
            <ac:spMk id="14" creationId="{81D349E7-2792-4173-B922-B597DE13B126}"/>
          </ac:spMkLst>
        </pc:spChg>
      </pc:sldChg>
      <pc:sldChg chg="modSp add mod">
        <pc:chgData name="christophe CHUECOS-FONT" userId="7e57acaa-4bc6-4644-8edc-0ecdded28594" providerId="ADAL" clId="{8BA2B171-D546-4C5A-BD3B-6720C76DF600}" dt="2021-03-05T11:08:18.360" v="2795" actId="255"/>
        <pc:sldMkLst>
          <pc:docMk/>
          <pc:sldMk cId="1915441251" sldId="827"/>
        </pc:sldMkLst>
        <pc:spChg chg="mod">
          <ac:chgData name="christophe CHUECOS-FONT" userId="7e57acaa-4bc6-4644-8edc-0ecdded28594" providerId="ADAL" clId="{8BA2B171-D546-4C5A-BD3B-6720C76DF600}" dt="2021-03-05T11:08:18.360" v="2795" actId="255"/>
          <ac:spMkLst>
            <pc:docMk/>
            <pc:sldMk cId="1915441251" sldId="827"/>
            <ac:spMk id="14" creationId="{81D349E7-2792-4173-B922-B597DE13B126}"/>
          </ac:spMkLst>
        </pc:spChg>
      </pc:sldChg>
      <pc:sldChg chg="add">
        <pc:chgData name="christophe CHUECOS-FONT" userId="7e57acaa-4bc6-4644-8edc-0ecdded28594" providerId="ADAL" clId="{8BA2B171-D546-4C5A-BD3B-6720C76DF600}" dt="2021-03-05T11:08:30.916" v="2796" actId="2890"/>
        <pc:sldMkLst>
          <pc:docMk/>
          <pc:sldMk cId="2773282197" sldId="828"/>
        </pc:sldMkLst>
      </pc:sldChg>
      <pc:sldChg chg="add">
        <pc:chgData name="christophe CHUECOS-FONT" userId="7e57acaa-4bc6-4644-8edc-0ecdded28594" providerId="ADAL" clId="{8BA2B171-D546-4C5A-BD3B-6720C76DF600}" dt="2021-03-05T11:09:29.206" v="2797" actId="2890"/>
        <pc:sldMkLst>
          <pc:docMk/>
          <pc:sldMk cId="1950364010" sldId="829"/>
        </pc:sldMkLst>
      </pc:sldChg>
      <pc:sldChg chg="add">
        <pc:chgData name="christophe CHUECOS-FONT" userId="7e57acaa-4bc6-4644-8edc-0ecdded28594" providerId="ADAL" clId="{8BA2B171-D546-4C5A-BD3B-6720C76DF600}" dt="2021-03-05T11:10:36.076" v="2804" actId="2890"/>
        <pc:sldMkLst>
          <pc:docMk/>
          <pc:sldMk cId="2782068847" sldId="830"/>
        </pc:sldMkLst>
      </pc:sldChg>
      <pc:sldChg chg="modSp add mod">
        <pc:chgData name="christophe CHUECOS-FONT" userId="7e57acaa-4bc6-4644-8edc-0ecdded28594" providerId="ADAL" clId="{8BA2B171-D546-4C5A-BD3B-6720C76DF600}" dt="2021-03-05T11:15:41.605" v="2839" actId="6549"/>
        <pc:sldMkLst>
          <pc:docMk/>
          <pc:sldMk cId="2879788015" sldId="831"/>
        </pc:sldMkLst>
        <pc:spChg chg="mod">
          <ac:chgData name="christophe CHUECOS-FONT" userId="7e57acaa-4bc6-4644-8edc-0ecdded28594" providerId="ADAL" clId="{8BA2B171-D546-4C5A-BD3B-6720C76DF600}" dt="2021-03-05T11:15:41.605" v="2839" actId="6549"/>
          <ac:spMkLst>
            <pc:docMk/>
            <pc:sldMk cId="2879788015" sldId="831"/>
            <ac:spMk id="14" creationId="{81D349E7-2792-4173-B922-B597DE13B126}"/>
          </ac:spMkLst>
        </pc:spChg>
      </pc:sldChg>
      <pc:sldChg chg="add del">
        <pc:chgData name="christophe CHUECOS-FONT" userId="7e57acaa-4bc6-4644-8edc-0ecdded28594" providerId="ADAL" clId="{8BA2B171-D546-4C5A-BD3B-6720C76DF600}" dt="2021-03-05T11:21:17.698" v="2848" actId="47"/>
        <pc:sldMkLst>
          <pc:docMk/>
          <pc:sldMk cId="2422551333" sldId="832"/>
        </pc:sldMkLst>
      </pc:sldChg>
      <pc:sldChg chg="modSp add mod ord">
        <pc:chgData name="christophe CHUECOS-FONT" userId="7e57acaa-4bc6-4644-8edc-0ecdded28594" providerId="ADAL" clId="{8BA2B171-D546-4C5A-BD3B-6720C76DF600}" dt="2021-03-05T11:21:43.954" v="2864" actId="20577"/>
        <pc:sldMkLst>
          <pc:docMk/>
          <pc:sldMk cId="405135684" sldId="833"/>
        </pc:sldMkLst>
        <pc:spChg chg="mod">
          <ac:chgData name="christophe CHUECOS-FONT" userId="7e57acaa-4bc6-4644-8edc-0ecdded28594" providerId="ADAL" clId="{8BA2B171-D546-4C5A-BD3B-6720C76DF600}" dt="2021-03-05T11:21:43.954" v="2864" actId="20577"/>
          <ac:spMkLst>
            <pc:docMk/>
            <pc:sldMk cId="405135684" sldId="833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11:21:37.803" v="2849"/>
          <ac:graphicFrameMkLst>
            <pc:docMk/>
            <pc:sldMk cId="405135684" sldId="833"/>
            <ac:graphicFrameMk id="6" creationId="{4A6E514C-D3C4-4B29-BB5C-DB98C7CA5742}"/>
          </ac:graphicFrameMkLst>
        </pc:graphicFrameChg>
      </pc:sldChg>
      <pc:sldChg chg="modSp add mod">
        <pc:chgData name="christophe CHUECOS-FONT" userId="7e57acaa-4bc6-4644-8edc-0ecdded28594" providerId="ADAL" clId="{8BA2B171-D546-4C5A-BD3B-6720C76DF600}" dt="2021-03-05T13:01:21.739" v="3818" actId="20577"/>
        <pc:sldMkLst>
          <pc:docMk/>
          <pc:sldMk cId="3147995437" sldId="834"/>
        </pc:sldMkLst>
        <pc:spChg chg="mod">
          <ac:chgData name="christophe CHUECOS-FONT" userId="7e57acaa-4bc6-4644-8edc-0ecdded28594" providerId="ADAL" clId="{8BA2B171-D546-4C5A-BD3B-6720C76DF600}" dt="2021-03-05T12:54:45.621" v="2912" actId="6549"/>
          <ac:spMkLst>
            <pc:docMk/>
            <pc:sldMk cId="3147995437" sldId="834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13:01:21.739" v="3818" actId="20577"/>
          <ac:graphicFrameMkLst>
            <pc:docMk/>
            <pc:sldMk cId="3147995437" sldId="834"/>
            <ac:graphicFrameMk id="6" creationId="{4A6E514C-D3C4-4B29-BB5C-DB98C7CA5742}"/>
          </ac:graphicFrameMkLst>
        </pc:graphicFrameChg>
      </pc:sldChg>
      <pc:sldChg chg="addSp modSp add mod ord setBg">
        <pc:chgData name="christophe CHUECOS-FONT" userId="7e57acaa-4bc6-4644-8edc-0ecdded28594" providerId="ADAL" clId="{8BA2B171-D546-4C5A-BD3B-6720C76DF600}" dt="2021-03-05T13:02:35.854" v="3833" actId="6549"/>
        <pc:sldMkLst>
          <pc:docMk/>
          <pc:sldMk cId="1945539039" sldId="835"/>
        </pc:sldMkLst>
        <pc:spChg chg="mod">
          <ac:chgData name="christophe CHUECOS-FONT" userId="7e57acaa-4bc6-4644-8edc-0ecdded28594" providerId="ADAL" clId="{8BA2B171-D546-4C5A-BD3B-6720C76DF600}" dt="2021-03-05T13:02:13.068" v="3827" actId="14100"/>
          <ac:spMkLst>
            <pc:docMk/>
            <pc:sldMk cId="1945539039" sldId="835"/>
            <ac:spMk id="2" creationId="{CF7423E2-1513-44EB-8D52-91ACCB7F5E77}"/>
          </ac:spMkLst>
        </pc:spChg>
        <pc:spChg chg="mod">
          <ac:chgData name="christophe CHUECOS-FONT" userId="7e57acaa-4bc6-4644-8edc-0ecdded28594" providerId="ADAL" clId="{8BA2B171-D546-4C5A-BD3B-6720C76DF600}" dt="2021-03-05T13:02:35.854" v="3833" actId="6549"/>
          <ac:spMkLst>
            <pc:docMk/>
            <pc:sldMk cId="1945539039" sldId="835"/>
            <ac:spMk id="3" creationId="{0427D4CA-BC17-4FBA-9989-9B788ADD5BDA}"/>
          </ac:spMkLst>
        </pc:spChg>
        <pc:spChg chg="add">
          <ac:chgData name="christophe CHUECOS-FONT" userId="7e57acaa-4bc6-4644-8edc-0ecdded28594" providerId="ADAL" clId="{8BA2B171-D546-4C5A-BD3B-6720C76DF600}" dt="2021-03-05T13:01:38.111" v="3820" actId="26606"/>
          <ac:spMkLst>
            <pc:docMk/>
            <pc:sldMk cId="1945539039" sldId="835"/>
            <ac:spMk id="8" creationId="{98DDA986-B6EE-4642-AC60-0490373E69D0}"/>
          </ac:spMkLst>
        </pc:spChg>
        <pc:spChg chg="add">
          <ac:chgData name="christophe CHUECOS-FONT" userId="7e57acaa-4bc6-4644-8edc-0ecdded28594" providerId="ADAL" clId="{8BA2B171-D546-4C5A-BD3B-6720C76DF600}" dt="2021-03-05T13:01:38.111" v="3820" actId="26606"/>
          <ac:spMkLst>
            <pc:docMk/>
            <pc:sldMk cId="1945539039" sldId="835"/>
            <ac:spMk id="10" creationId="{80B62878-12EF-4E97-A284-47BAFC30DA2E}"/>
          </ac:spMkLst>
        </pc:spChg>
        <pc:spChg chg="add">
          <ac:chgData name="christophe CHUECOS-FONT" userId="7e57acaa-4bc6-4644-8edc-0ecdded28594" providerId="ADAL" clId="{8BA2B171-D546-4C5A-BD3B-6720C76DF600}" dt="2021-03-05T13:01:38.111" v="3820" actId="26606"/>
          <ac:spMkLst>
            <pc:docMk/>
            <pc:sldMk cId="1945539039" sldId="835"/>
            <ac:spMk id="12" creationId="{6D79188D-1ED5-4705-B8C7-5D6FB7670AB3}"/>
          </ac:spMkLst>
        </pc:spChg>
      </pc:sldChg>
      <pc:sldChg chg="new del">
        <pc:chgData name="christophe CHUECOS-FONT" userId="7e57acaa-4bc6-4644-8edc-0ecdded28594" providerId="ADAL" clId="{8BA2B171-D546-4C5A-BD3B-6720C76DF600}" dt="2021-03-05T13:01:29.429" v="3819" actId="47"/>
        <pc:sldMkLst>
          <pc:docMk/>
          <pc:sldMk cId="1090501617" sldId="836"/>
        </pc:sldMkLst>
      </pc:sldChg>
      <pc:sldChg chg="addSp modSp add mod setBg">
        <pc:chgData name="christophe CHUECOS-FONT" userId="7e57acaa-4bc6-4644-8edc-0ecdded28594" providerId="ADAL" clId="{8BA2B171-D546-4C5A-BD3B-6720C76DF600}" dt="2021-03-05T13:02:06.357" v="3826" actId="14100"/>
        <pc:sldMkLst>
          <pc:docMk/>
          <pc:sldMk cId="11715495" sldId="837"/>
        </pc:sldMkLst>
        <pc:spChg chg="mod">
          <ac:chgData name="christophe CHUECOS-FONT" userId="7e57acaa-4bc6-4644-8edc-0ecdded28594" providerId="ADAL" clId="{8BA2B171-D546-4C5A-BD3B-6720C76DF600}" dt="2021-03-05T13:01:56.926" v="3824" actId="27636"/>
          <ac:spMkLst>
            <pc:docMk/>
            <pc:sldMk cId="11715495" sldId="837"/>
            <ac:spMk id="2" creationId="{CF7423E2-1513-44EB-8D52-91ACCB7F5E77}"/>
          </ac:spMkLst>
        </pc:spChg>
        <pc:spChg chg="mod">
          <ac:chgData name="christophe CHUECOS-FONT" userId="7e57acaa-4bc6-4644-8edc-0ecdded28594" providerId="ADAL" clId="{8BA2B171-D546-4C5A-BD3B-6720C76DF600}" dt="2021-03-05T13:02:06.357" v="3826" actId="14100"/>
          <ac:spMkLst>
            <pc:docMk/>
            <pc:sldMk cId="11715495" sldId="837"/>
            <ac:spMk id="3" creationId="{0427D4CA-BC17-4FBA-9989-9B788ADD5BDA}"/>
          </ac:spMkLst>
        </pc:spChg>
        <pc:spChg chg="add">
          <ac:chgData name="christophe CHUECOS-FONT" userId="7e57acaa-4bc6-4644-8edc-0ecdded28594" providerId="ADAL" clId="{8BA2B171-D546-4C5A-BD3B-6720C76DF600}" dt="2021-03-05T13:01:44.071" v="3821" actId="26606"/>
          <ac:spMkLst>
            <pc:docMk/>
            <pc:sldMk cId="11715495" sldId="837"/>
            <ac:spMk id="8" creationId="{0D7B6173-1D58-48E2-83CF-37350F315F75}"/>
          </ac:spMkLst>
        </pc:spChg>
        <pc:spChg chg="add">
          <ac:chgData name="christophe CHUECOS-FONT" userId="7e57acaa-4bc6-4644-8edc-0ecdded28594" providerId="ADAL" clId="{8BA2B171-D546-4C5A-BD3B-6720C76DF600}" dt="2021-03-05T13:01:44.071" v="3821" actId="26606"/>
          <ac:spMkLst>
            <pc:docMk/>
            <pc:sldMk cId="11715495" sldId="837"/>
            <ac:spMk id="10" creationId="{3E4CBDBB-4FBD-4B9E-BD01-054A81D431CC}"/>
          </ac:spMkLst>
        </pc:spChg>
        <pc:spChg chg="add">
          <ac:chgData name="christophe CHUECOS-FONT" userId="7e57acaa-4bc6-4644-8edc-0ecdded28594" providerId="ADAL" clId="{8BA2B171-D546-4C5A-BD3B-6720C76DF600}" dt="2021-03-05T13:01:44.071" v="3821" actId="26606"/>
          <ac:spMkLst>
            <pc:docMk/>
            <pc:sldMk cId="11715495" sldId="837"/>
            <ac:spMk id="14" creationId="{72C4834C-B602-4125-8264-BD0D55A5885F}"/>
          </ac:spMkLst>
        </pc:spChg>
        <pc:spChg chg="add">
          <ac:chgData name="christophe CHUECOS-FONT" userId="7e57acaa-4bc6-4644-8edc-0ecdded28594" providerId="ADAL" clId="{8BA2B171-D546-4C5A-BD3B-6720C76DF600}" dt="2021-03-05T13:01:44.071" v="3821" actId="26606"/>
          <ac:spMkLst>
            <pc:docMk/>
            <pc:sldMk cId="11715495" sldId="837"/>
            <ac:spMk id="16" creationId="{53172EE5-132F-4DD4-8855-4DBBD9C3465E}"/>
          </ac:spMkLst>
        </pc:spChg>
        <pc:picChg chg="add">
          <ac:chgData name="christophe CHUECOS-FONT" userId="7e57acaa-4bc6-4644-8edc-0ecdded28594" providerId="ADAL" clId="{8BA2B171-D546-4C5A-BD3B-6720C76DF600}" dt="2021-03-05T13:01:44.071" v="3821" actId="26606"/>
          <ac:picMkLst>
            <pc:docMk/>
            <pc:sldMk cId="11715495" sldId="837"/>
            <ac:picMk id="12" creationId="{B01A6F03-171F-40B2-8B2C-A061B89241F6}"/>
          </ac:picMkLst>
        </pc:picChg>
      </pc:sldChg>
      <pc:sldChg chg="addSp delSp modSp add mod setClrOvrMap">
        <pc:chgData name="christophe CHUECOS-FONT" userId="7e57acaa-4bc6-4644-8edc-0ecdded28594" providerId="ADAL" clId="{8BA2B171-D546-4C5A-BD3B-6720C76DF600}" dt="2021-03-05T13:21:39.009" v="4590" actId="20577"/>
        <pc:sldMkLst>
          <pc:docMk/>
          <pc:sldMk cId="541489544" sldId="838"/>
        </pc:sldMkLst>
        <pc:spChg chg="del mod">
          <ac:chgData name="christophe CHUECOS-FONT" userId="7e57acaa-4bc6-4644-8edc-0ecdded28594" providerId="ADAL" clId="{8BA2B171-D546-4C5A-BD3B-6720C76DF600}" dt="2021-03-05T13:17:57.484" v="4411" actId="21"/>
          <ac:spMkLst>
            <pc:docMk/>
            <pc:sldMk cId="541489544" sldId="838"/>
            <ac:spMk id="2" creationId="{00000000-0000-0000-0000-000000000000}"/>
          </ac:spMkLst>
        </pc:spChg>
        <pc:spChg chg="add del mod">
          <ac:chgData name="christophe CHUECOS-FONT" userId="7e57acaa-4bc6-4644-8edc-0ecdded28594" providerId="ADAL" clId="{8BA2B171-D546-4C5A-BD3B-6720C76DF600}" dt="2021-03-05T13:21:39.009" v="4590" actId="20577"/>
          <ac:spMkLst>
            <pc:docMk/>
            <pc:sldMk cId="541489544" sldId="838"/>
            <ac:spMk id="3" creationId="{060668A1-F703-43F0-AA81-AEEE6C0B4942}"/>
          </ac:spMkLst>
        </pc:spChg>
        <pc:spChg chg="add mod">
          <ac:chgData name="christophe CHUECOS-FONT" userId="7e57acaa-4bc6-4644-8edc-0ecdded28594" providerId="ADAL" clId="{8BA2B171-D546-4C5A-BD3B-6720C76DF600}" dt="2021-03-05T13:17:57.484" v="4411" actId="21"/>
          <ac:spMkLst>
            <pc:docMk/>
            <pc:sldMk cId="541489544" sldId="838"/>
            <ac:spMk id="5" creationId="{E1012E67-191D-4FAE-B2A5-54D2B1BF5195}"/>
          </ac:spMkLst>
        </pc:spChg>
        <pc:spChg chg="del">
          <ac:chgData name="christophe CHUECOS-FONT" userId="7e57acaa-4bc6-4644-8edc-0ecdded28594" providerId="ADAL" clId="{8BA2B171-D546-4C5A-BD3B-6720C76DF600}" dt="2021-03-05T13:17:16.520" v="4396" actId="26606"/>
          <ac:spMkLst>
            <pc:docMk/>
            <pc:sldMk cId="541489544" sldId="838"/>
            <ac:spMk id="37" creationId="{8FC9BE17-9A7B-462D-AE50-3D8777387304}"/>
          </ac:spMkLst>
        </pc:spChg>
        <pc:spChg chg="del">
          <ac:chgData name="christophe CHUECOS-FONT" userId="7e57acaa-4bc6-4644-8edc-0ecdded28594" providerId="ADAL" clId="{8BA2B171-D546-4C5A-BD3B-6720C76DF600}" dt="2021-03-05T13:17:16.520" v="4396" actId="26606"/>
          <ac:spMkLst>
            <pc:docMk/>
            <pc:sldMk cId="541489544" sldId="838"/>
            <ac:spMk id="39" creationId="{3EBE8569-6AEC-4B8C-8D53-2DE337CDBA65}"/>
          </ac:spMkLst>
        </pc:spChg>
        <pc:spChg chg="del">
          <ac:chgData name="christophe CHUECOS-FONT" userId="7e57acaa-4bc6-4644-8edc-0ecdded28594" providerId="ADAL" clId="{8BA2B171-D546-4C5A-BD3B-6720C76DF600}" dt="2021-03-05T13:17:16.520" v="4396" actId="26606"/>
          <ac:spMkLst>
            <pc:docMk/>
            <pc:sldMk cId="541489544" sldId="838"/>
            <ac:spMk id="41" creationId="{55D4142C-5077-457F-A6AD-3FECFDB39685}"/>
          </ac:spMkLst>
        </pc:spChg>
        <pc:spChg chg="del">
          <ac:chgData name="christophe CHUECOS-FONT" userId="7e57acaa-4bc6-4644-8edc-0ecdded28594" providerId="ADAL" clId="{8BA2B171-D546-4C5A-BD3B-6720C76DF600}" dt="2021-03-05T13:17:16.520" v="4396" actId="26606"/>
          <ac:spMkLst>
            <pc:docMk/>
            <pc:sldMk cId="541489544" sldId="838"/>
            <ac:spMk id="43" creationId="{7A5F0580-5EE9-419F-96EE-B6529EF6E7D0}"/>
          </ac:spMkLst>
        </pc:spChg>
        <pc:spChg chg="add">
          <ac:chgData name="christophe CHUECOS-FONT" userId="7e57acaa-4bc6-4644-8edc-0ecdded28594" providerId="ADAL" clId="{8BA2B171-D546-4C5A-BD3B-6720C76DF600}" dt="2021-03-05T13:17:16.520" v="4396" actId="26606"/>
          <ac:spMkLst>
            <pc:docMk/>
            <pc:sldMk cId="541489544" sldId="838"/>
            <ac:spMk id="48" creationId="{7C432AFE-B3D2-4BFF-BF8F-96C27AFF1AC7}"/>
          </ac:spMkLst>
        </pc:spChg>
        <pc:spChg chg="add">
          <ac:chgData name="christophe CHUECOS-FONT" userId="7e57acaa-4bc6-4644-8edc-0ecdded28594" providerId="ADAL" clId="{8BA2B171-D546-4C5A-BD3B-6720C76DF600}" dt="2021-03-05T13:17:16.520" v="4396" actId="26606"/>
          <ac:spMkLst>
            <pc:docMk/>
            <pc:sldMk cId="541489544" sldId="838"/>
            <ac:spMk id="50" creationId="{AF2F604E-43BE-4DC3-B983-E071523364F8}"/>
          </ac:spMkLst>
        </pc:spChg>
        <pc:spChg chg="add">
          <ac:chgData name="christophe CHUECOS-FONT" userId="7e57acaa-4bc6-4644-8edc-0ecdded28594" providerId="ADAL" clId="{8BA2B171-D546-4C5A-BD3B-6720C76DF600}" dt="2021-03-05T13:17:16.520" v="4396" actId="26606"/>
          <ac:spMkLst>
            <pc:docMk/>
            <pc:sldMk cId="541489544" sldId="838"/>
            <ac:spMk id="52" creationId="{08C9B587-E65E-4B52-B37C-ABEBB6E87928}"/>
          </ac:spMkLst>
        </pc:spChg>
        <pc:picChg chg="add del mod">
          <ac:chgData name="christophe CHUECOS-FONT" userId="7e57acaa-4bc6-4644-8edc-0ecdded28594" providerId="ADAL" clId="{8BA2B171-D546-4C5A-BD3B-6720C76DF600}" dt="2021-03-05T13:18:14.885" v="4416" actId="21"/>
          <ac:picMkLst>
            <pc:docMk/>
            <pc:sldMk cId="541489544" sldId="838"/>
            <ac:picMk id="12" creationId="{1FD79E4A-E80D-4BA5-BEA9-44F693117FDC}"/>
          </ac:picMkLst>
        </pc:picChg>
      </pc:sldChg>
      <pc:sldChg chg="add">
        <pc:chgData name="christophe CHUECOS-FONT" userId="7e57acaa-4bc6-4644-8edc-0ecdded28594" providerId="ADAL" clId="{8BA2B171-D546-4C5A-BD3B-6720C76DF600}" dt="2021-03-05T13:22:38.108" v="4593" actId="2890"/>
        <pc:sldMkLst>
          <pc:docMk/>
          <pc:sldMk cId="1485313176" sldId="839"/>
        </pc:sldMkLst>
      </pc:sldChg>
      <pc:sldChg chg="addSp delSp modSp add mod ord">
        <pc:chgData name="christophe CHUECOS-FONT" userId="7e57acaa-4bc6-4644-8edc-0ecdded28594" providerId="ADAL" clId="{8BA2B171-D546-4C5A-BD3B-6720C76DF600}" dt="2021-03-05T13:30:34.467" v="4617"/>
        <pc:sldMkLst>
          <pc:docMk/>
          <pc:sldMk cId="556005404" sldId="840"/>
        </pc:sldMkLst>
        <pc:spChg chg="del">
          <ac:chgData name="christophe CHUECOS-FONT" userId="7e57acaa-4bc6-4644-8edc-0ecdded28594" providerId="ADAL" clId="{8BA2B171-D546-4C5A-BD3B-6720C76DF600}" dt="2021-03-05T13:29:09.765" v="4602" actId="21"/>
          <ac:spMkLst>
            <pc:docMk/>
            <pc:sldMk cId="556005404" sldId="840"/>
            <ac:spMk id="2" creationId="{A642374E-6CC0-4655-B9AB-1F032152246A}"/>
          </ac:spMkLst>
        </pc:spChg>
        <pc:spChg chg="add del mod">
          <ac:chgData name="christophe CHUECOS-FONT" userId="7e57acaa-4bc6-4644-8edc-0ecdded28594" providerId="ADAL" clId="{8BA2B171-D546-4C5A-BD3B-6720C76DF600}" dt="2021-03-05T13:30:17.084" v="4615" actId="21"/>
          <ac:spMkLst>
            <pc:docMk/>
            <pc:sldMk cId="556005404" sldId="840"/>
            <ac:spMk id="7" creationId="{E16B9059-B10D-4BCB-9394-45E2877E80C8}"/>
          </ac:spMkLst>
        </pc:spChg>
        <pc:spChg chg="add del mod">
          <ac:chgData name="christophe CHUECOS-FONT" userId="7e57acaa-4bc6-4644-8edc-0ecdded28594" providerId="ADAL" clId="{8BA2B171-D546-4C5A-BD3B-6720C76DF600}" dt="2021-03-05T13:30:13.860" v="4614" actId="21"/>
          <ac:spMkLst>
            <pc:docMk/>
            <pc:sldMk cId="556005404" sldId="840"/>
            <ac:spMk id="9" creationId="{E6BDDA1D-9A1E-4DD0-A839-DD65B7DBFFEA}"/>
          </ac:spMkLst>
        </pc:spChg>
        <pc:graphicFrameChg chg="del modGraphic">
          <ac:chgData name="christophe CHUECOS-FONT" userId="7e57acaa-4bc6-4644-8edc-0ecdded28594" providerId="ADAL" clId="{8BA2B171-D546-4C5A-BD3B-6720C76DF600}" dt="2021-03-05T13:29:01.828" v="4601" actId="21"/>
          <ac:graphicFrameMkLst>
            <pc:docMk/>
            <pc:sldMk cId="556005404" sldId="840"/>
            <ac:graphicFrameMk id="4" creationId="{CC3EDAFB-F998-43F9-B64D-6ABC31FC6876}"/>
          </ac:graphicFrameMkLst>
        </pc:graphicFrameChg>
        <pc:picChg chg="add mod">
          <ac:chgData name="christophe CHUECOS-FONT" userId="7e57acaa-4bc6-4644-8edc-0ecdded28594" providerId="ADAL" clId="{8BA2B171-D546-4C5A-BD3B-6720C76DF600}" dt="2021-03-05T13:30:03.302" v="4613" actId="14100"/>
          <ac:picMkLst>
            <pc:docMk/>
            <pc:sldMk cId="556005404" sldId="840"/>
            <ac:picMk id="5" creationId="{43BF38CE-8118-4C7E-9E41-9051A9D3EDB2}"/>
          </ac:picMkLst>
        </pc:picChg>
      </pc:sldChg>
      <pc:sldChg chg="addSp delSp modSp new mod">
        <pc:chgData name="christophe CHUECOS-FONT" userId="7e57acaa-4bc6-4644-8edc-0ecdded28594" providerId="ADAL" clId="{8BA2B171-D546-4C5A-BD3B-6720C76DF600}" dt="2021-03-05T13:35:04.180" v="4692" actId="13926"/>
        <pc:sldMkLst>
          <pc:docMk/>
          <pc:sldMk cId="1685452523" sldId="841"/>
        </pc:sldMkLst>
        <pc:spChg chg="mod">
          <ac:chgData name="christophe CHUECOS-FONT" userId="7e57acaa-4bc6-4644-8edc-0ecdded28594" providerId="ADAL" clId="{8BA2B171-D546-4C5A-BD3B-6720C76DF600}" dt="2021-03-05T13:33:22.519" v="4662" actId="20577"/>
          <ac:spMkLst>
            <pc:docMk/>
            <pc:sldMk cId="1685452523" sldId="841"/>
            <ac:spMk id="2" creationId="{1DA5F1A0-ED54-417E-A489-67EA9FBAF59A}"/>
          </ac:spMkLst>
        </pc:spChg>
        <pc:spChg chg="del mod">
          <ac:chgData name="christophe CHUECOS-FONT" userId="7e57acaa-4bc6-4644-8edc-0ecdded28594" providerId="ADAL" clId="{8BA2B171-D546-4C5A-BD3B-6720C76DF600}" dt="2021-03-05T13:33:08.345" v="4622"/>
          <ac:spMkLst>
            <pc:docMk/>
            <pc:sldMk cId="1685452523" sldId="841"/>
            <ac:spMk id="3" creationId="{343CB979-444B-4A07-8157-B4408AC4A969}"/>
          </ac:spMkLst>
        </pc:spChg>
        <pc:graphicFrameChg chg="add mod modGraphic">
          <ac:chgData name="christophe CHUECOS-FONT" userId="7e57acaa-4bc6-4644-8edc-0ecdded28594" providerId="ADAL" clId="{8BA2B171-D546-4C5A-BD3B-6720C76DF600}" dt="2021-03-05T13:35:04.180" v="4692" actId="13926"/>
          <ac:graphicFrameMkLst>
            <pc:docMk/>
            <pc:sldMk cId="1685452523" sldId="841"/>
            <ac:graphicFrameMk id="4" creationId="{953F4503-12A7-48E0-990E-8A4F7DA8122D}"/>
          </ac:graphicFrameMkLst>
        </pc:graphicFrameChg>
      </pc:sldChg>
      <pc:sldChg chg="addSp delSp new del">
        <pc:chgData name="christophe CHUECOS-FONT" userId="7e57acaa-4bc6-4644-8edc-0ecdded28594" providerId="ADAL" clId="{8BA2B171-D546-4C5A-BD3B-6720C76DF600}" dt="2021-03-05T13:29:50.441" v="4611" actId="47"/>
        <pc:sldMkLst>
          <pc:docMk/>
          <pc:sldMk cId="4254901812" sldId="841"/>
        </pc:sldMkLst>
        <pc:picChg chg="add del">
          <ac:chgData name="christophe CHUECOS-FONT" userId="7e57acaa-4bc6-4644-8edc-0ecdded28594" providerId="ADAL" clId="{8BA2B171-D546-4C5A-BD3B-6720C76DF600}" dt="2021-03-05T13:29:43.310" v="4609"/>
          <ac:picMkLst>
            <pc:docMk/>
            <pc:sldMk cId="4254901812" sldId="841"/>
            <ac:picMk id="4" creationId="{A0EEBF3E-D2E4-4F3C-9167-4D153C832C29}"/>
          </ac:picMkLst>
        </pc:picChg>
      </pc:sldChg>
      <pc:sldChg chg="modSp add mod ord">
        <pc:chgData name="christophe CHUECOS-FONT" userId="7e57acaa-4bc6-4644-8edc-0ecdded28594" providerId="ADAL" clId="{8BA2B171-D546-4C5A-BD3B-6720C76DF600}" dt="2021-03-05T13:40:56.475" v="4971" actId="14100"/>
        <pc:sldMkLst>
          <pc:docMk/>
          <pc:sldMk cId="3116413680" sldId="842"/>
        </pc:sldMkLst>
        <pc:spChg chg="mod">
          <ac:chgData name="christophe CHUECOS-FONT" userId="7e57acaa-4bc6-4644-8edc-0ecdded28594" providerId="ADAL" clId="{8BA2B171-D546-4C5A-BD3B-6720C76DF600}" dt="2021-03-05T13:40:43.888" v="4970" actId="14100"/>
          <ac:spMkLst>
            <pc:docMk/>
            <pc:sldMk cId="3116413680" sldId="842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8BA2B171-D546-4C5A-BD3B-6720C76DF600}" dt="2021-03-05T13:40:20.964" v="4936" actId="20577"/>
          <ac:spMkLst>
            <pc:docMk/>
            <pc:sldMk cId="3116413680" sldId="842"/>
            <ac:spMk id="23" creationId="{61BA051E-0D20-4CC3-9958-C0CFDE297C40}"/>
          </ac:spMkLst>
        </pc:spChg>
        <pc:picChg chg="mod">
          <ac:chgData name="christophe CHUECOS-FONT" userId="7e57acaa-4bc6-4644-8edc-0ecdded28594" providerId="ADAL" clId="{8BA2B171-D546-4C5A-BD3B-6720C76DF600}" dt="2021-03-05T13:40:56.475" v="4971" actId="14100"/>
          <ac:picMkLst>
            <pc:docMk/>
            <pc:sldMk cId="3116413680" sldId="842"/>
            <ac:picMk id="36" creationId="{FC9EF324-339C-4E46-9508-BF0C86AAC793}"/>
          </ac:picMkLst>
        </pc:picChg>
      </pc:sldChg>
      <pc:sldChg chg="addSp delSp modSp new del mod">
        <pc:chgData name="christophe CHUECOS-FONT" userId="7e57acaa-4bc6-4644-8edc-0ecdded28594" providerId="ADAL" clId="{8BA2B171-D546-4C5A-BD3B-6720C76DF600}" dt="2021-03-05T13:38:51.936" v="4711" actId="47"/>
        <pc:sldMkLst>
          <pc:docMk/>
          <pc:sldMk cId="3078742262" sldId="843"/>
        </pc:sldMkLst>
        <pc:spChg chg="mod">
          <ac:chgData name="christophe CHUECOS-FONT" userId="7e57acaa-4bc6-4644-8edc-0ecdded28594" providerId="ADAL" clId="{8BA2B171-D546-4C5A-BD3B-6720C76DF600}" dt="2021-03-05T13:38:10.442" v="4708" actId="27636"/>
          <ac:spMkLst>
            <pc:docMk/>
            <pc:sldMk cId="3078742262" sldId="843"/>
            <ac:spMk id="2" creationId="{0E7FC847-8EBE-49EE-A6A9-34C3051FFD12}"/>
          </ac:spMkLst>
        </pc:spChg>
        <pc:spChg chg="del">
          <ac:chgData name="christophe CHUECOS-FONT" userId="7e57acaa-4bc6-4644-8edc-0ecdded28594" providerId="ADAL" clId="{8BA2B171-D546-4C5A-BD3B-6720C76DF600}" dt="2021-03-05T13:38:00.772" v="4697"/>
          <ac:spMkLst>
            <pc:docMk/>
            <pc:sldMk cId="3078742262" sldId="843"/>
            <ac:spMk id="3" creationId="{6E9F72AB-BA37-4472-B38F-0035BBD814D0}"/>
          </ac:spMkLst>
        </pc:spChg>
        <pc:graphicFrameChg chg="add mod modGraphic">
          <ac:chgData name="christophe CHUECOS-FONT" userId="7e57acaa-4bc6-4644-8edc-0ecdded28594" providerId="ADAL" clId="{8BA2B171-D546-4C5A-BD3B-6720C76DF600}" dt="2021-03-05T13:38:18.298" v="4710" actId="14100"/>
          <ac:graphicFrameMkLst>
            <pc:docMk/>
            <pc:sldMk cId="3078742262" sldId="843"/>
            <ac:graphicFrameMk id="4" creationId="{348732D7-D3A1-4874-A84A-2B18F19503A6}"/>
          </ac:graphicFrameMkLst>
        </pc:graphicFrameChg>
      </pc:sldChg>
      <pc:sldChg chg="add ord">
        <pc:chgData name="christophe CHUECOS-FONT" userId="7e57acaa-4bc6-4644-8edc-0ecdded28594" providerId="ADAL" clId="{8BA2B171-D546-4C5A-BD3B-6720C76DF600}" dt="2021-03-05T13:41:25.207" v="4974"/>
        <pc:sldMkLst>
          <pc:docMk/>
          <pc:sldMk cId="3263644069" sldId="843"/>
        </pc:sldMkLst>
      </pc:sldChg>
      <pc:sldChg chg="modSp add mod">
        <pc:chgData name="christophe CHUECOS-FONT" userId="7e57acaa-4bc6-4644-8edc-0ecdded28594" providerId="ADAL" clId="{8BA2B171-D546-4C5A-BD3B-6720C76DF600}" dt="2021-03-05T13:45:32.157" v="5211" actId="20577"/>
        <pc:sldMkLst>
          <pc:docMk/>
          <pc:sldMk cId="977518013" sldId="844"/>
        </pc:sldMkLst>
        <pc:spChg chg="mod">
          <ac:chgData name="christophe CHUECOS-FONT" userId="7e57acaa-4bc6-4644-8edc-0ecdded28594" providerId="ADAL" clId="{8BA2B171-D546-4C5A-BD3B-6720C76DF600}" dt="2021-03-05T13:44:53.371" v="5116" actId="14100"/>
          <ac:spMkLst>
            <pc:docMk/>
            <pc:sldMk cId="977518013" sldId="844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8BA2B171-D546-4C5A-BD3B-6720C76DF600}" dt="2021-03-05T13:45:32.157" v="5211" actId="20577"/>
          <ac:spMkLst>
            <pc:docMk/>
            <pc:sldMk cId="977518013" sldId="844"/>
            <ac:spMk id="23" creationId="{61BA051E-0D20-4CC3-9958-C0CFDE297C40}"/>
          </ac:spMkLst>
        </pc:spChg>
        <pc:picChg chg="mod">
          <ac:chgData name="christophe CHUECOS-FONT" userId="7e57acaa-4bc6-4644-8edc-0ecdded28594" providerId="ADAL" clId="{8BA2B171-D546-4C5A-BD3B-6720C76DF600}" dt="2021-03-05T13:44:43.281" v="5112" actId="14100"/>
          <ac:picMkLst>
            <pc:docMk/>
            <pc:sldMk cId="977518013" sldId="844"/>
            <ac:picMk id="36" creationId="{FC9EF324-339C-4E46-9508-BF0C86AAC793}"/>
          </ac:picMkLst>
        </pc:picChg>
      </pc:sldChg>
      <pc:sldChg chg="modSp add del mod ord">
        <pc:chgData name="christophe CHUECOS-FONT" userId="7e57acaa-4bc6-4644-8edc-0ecdded28594" providerId="ADAL" clId="{8BA2B171-D546-4C5A-BD3B-6720C76DF600}" dt="2021-03-12T12:43:02.466" v="6140" actId="47"/>
        <pc:sldMkLst>
          <pc:docMk/>
          <pc:sldMk cId="1417877314" sldId="845"/>
        </pc:sldMkLst>
        <pc:spChg chg="mod">
          <ac:chgData name="christophe CHUECOS-FONT" userId="7e57acaa-4bc6-4644-8edc-0ecdded28594" providerId="ADAL" clId="{8BA2B171-D546-4C5A-BD3B-6720C76DF600}" dt="2021-03-05T13:45:57.116" v="5224" actId="20577"/>
          <ac:spMkLst>
            <pc:docMk/>
            <pc:sldMk cId="1417877314" sldId="845"/>
            <ac:spMk id="2" creationId="{02517F6E-26E9-44E8-815E-774552D95FD0}"/>
          </ac:spMkLst>
        </pc:spChg>
      </pc:sldChg>
      <pc:sldChg chg="modSp add del mod ord">
        <pc:chgData name="christophe CHUECOS-FONT" userId="7e57acaa-4bc6-4644-8edc-0ecdded28594" providerId="ADAL" clId="{8BA2B171-D546-4C5A-BD3B-6720C76DF600}" dt="2021-03-12T12:43:02.466" v="6140" actId="47"/>
        <pc:sldMkLst>
          <pc:docMk/>
          <pc:sldMk cId="2069087743" sldId="846"/>
        </pc:sldMkLst>
        <pc:spChg chg="mod">
          <ac:chgData name="christophe CHUECOS-FONT" userId="7e57acaa-4bc6-4644-8edc-0ecdded28594" providerId="ADAL" clId="{8BA2B171-D546-4C5A-BD3B-6720C76DF600}" dt="2021-03-05T13:46:56.486" v="5264" actId="6549"/>
          <ac:spMkLst>
            <pc:docMk/>
            <pc:sldMk cId="2069087743" sldId="846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13:47:29.820" v="5313" actId="120"/>
          <ac:graphicFrameMkLst>
            <pc:docMk/>
            <pc:sldMk cId="2069087743" sldId="846"/>
            <ac:graphicFrameMk id="6" creationId="{4A6E514C-D3C4-4B29-BB5C-DB98C7CA5742}"/>
          </ac:graphicFrameMkLst>
        </pc:graphicFrameChg>
      </pc:sldChg>
      <pc:sldChg chg="modSp add del mod">
        <pc:chgData name="christophe CHUECOS-FONT" userId="7e57acaa-4bc6-4644-8edc-0ecdded28594" providerId="ADAL" clId="{8BA2B171-D546-4C5A-BD3B-6720C76DF600}" dt="2021-03-12T12:43:02.466" v="6140" actId="47"/>
        <pc:sldMkLst>
          <pc:docMk/>
          <pc:sldMk cId="12716915" sldId="847"/>
        </pc:sldMkLst>
        <pc:spChg chg="mod">
          <ac:chgData name="christophe CHUECOS-FONT" userId="7e57acaa-4bc6-4644-8edc-0ecdded28594" providerId="ADAL" clId="{8BA2B171-D546-4C5A-BD3B-6720C76DF600}" dt="2021-03-05T13:49:00.724" v="5387" actId="6549"/>
          <ac:spMkLst>
            <pc:docMk/>
            <pc:sldMk cId="12716915" sldId="847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13:49:23.815" v="5388" actId="255"/>
          <ac:graphicFrameMkLst>
            <pc:docMk/>
            <pc:sldMk cId="12716915" sldId="847"/>
            <ac:graphicFrameMk id="6" creationId="{4A6E514C-D3C4-4B29-BB5C-DB98C7CA5742}"/>
          </ac:graphicFrameMkLst>
        </pc:graphicFrameChg>
      </pc:sldChg>
      <pc:sldChg chg="modSp add del mod">
        <pc:chgData name="christophe CHUECOS-FONT" userId="7e57acaa-4bc6-4644-8edc-0ecdded28594" providerId="ADAL" clId="{8BA2B171-D546-4C5A-BD3B-6720C76DF600}" dt="2021-03-12T12:43:02.466" v="6140" actId="47"/>
        <pc:sldMkLst>
          <pc:docMk/>
          <pc:sldMk cId="2080613406" sldId="848"/>
        </pc:sldMkLst>
        <pc:spChg chg="mod">
          <ac:chgData name="christophe CHUECOS-FONT" userId="7e57acaa-4bc6-4644-8edc-0ecdded28594" providerId="ADAL" clId="{8BA2B171-D546-4C5A-BD3B-6720C76DF600}" dt="2021-03-05T13:53:00.573" v="5502" actId="27636"/>
          <ac:spMkLst>
            <pc:docMk/>
            <pc:sldMk cId="2080613406" sldId="848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13:53:11.050" v="5505" actId="1076"/>
          <ac:graphicFrameMkLst>
            <pc:docMk/>
            <pc:sldMk cId="2080613406" sldId="848"/>
            <ac:graphicFrameMk id="6" creationId="{4A6E514C-D3C4-4B29-BB5C-DB98C7CA5742}"/>
          </ac:graphicFrameMkLst>
        </pc:graphicFrameChg>
      </pc:sldChg>
      <pc:sldChg chg="modSp add del mod ord">
        <pc:chgData name="christophe CHUECOS-FONT" userId="7e57acaa-4bc6-4644-8edc-0ecdded28594" providerId="ADAL" clId="{8BA2B171-D546-4C5A-BD3B-6720C76DF600}" dt="2021-03-12T12:43:02.466" v="6140" actId="47"/>
        <pc:sldMkLst>
          <pc:docMk/>
          <pc:sldMk cId="2013905306" sldId="849"/>
        </pc:sldMkLst>
        <pc:spChg chg="mod">
          <ac:chgData name="christophe CHUECOS-FONT" userId="7e57acaa-4bc6-4644-8edc-0ecdded28594" providerId="ADAL" clId="{8BA2B171-D546-4C5A-BD3B-6720C76DF600}" dt="2021-03-05T13:53:44.092" v="5558" actId="6549"/>
          <ac:spMkLst>
            <pc:docMk/>
            <pc:sldMk cId="2013905306" sldId="849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13:58:53.548" v="5668" actId="20577"/>
          <ac:graphicFrameMkLst>
            <pc:docMk/>
            <pc:sldMk cId="2013905306" sldId="849"/>
            <ac:graphicFrameMk id="6" creationId="{4A6E514C-D3C4-4B29-BB5C-DB98C7CA5742}"/>
          </ac:graphicFrameMkLst>
        </pc:graphicFrameChg>
      </pc:sldChg>
      <pc:sldChg chg="modSp add del mod">
        <pc:chgData name="christophe CHUECOS-FONT" userId="7e57acaa-4bc6-4644-8edc-0ecdded28594" providerId="ADAL" clId="{8BA2B171-D546-4C5A-BD3B-6720C76DF600}" dt="2021-03-12T12:43:04.761" v="6141" actId="47"/>
        <pc:sldMkLst>
          <pc:docMk/>
          <pc:sldMk cId="2136421834" sldId="850"/>
        </pc:sldMkLst>
        <pc:spChg chg="mod">
          <ac:chgData name="christophe CHUECOS-FONT" userId="7e57acaa-4bc6-4644-8edc-0ecdded28594" providerId="ADAL" clId="{8BA2B171-D546-4C5A-BD3B-6720C76DF600}" dt="2021-03-05T13:59:38.876" v="5749" actId="6549"/>
          <ac:spMkLst>
            <pc:docMk/>
            <pc:sldMk cId="2136421834" sldId="850"/>
            <ac:spMk id="2" creationId="{232A2D28-A06C-48FD-ABB4-EB7E27B84308}"/>
          </ac:spMkLst>
        </pc:spChg>
        <pc:graphicFrameChg chg="mod modGraphic">
          <ac:chgData name="christophe CHUECOS-FONT" userId="7e57acaa-4bc6-4644-8edc-0ecdded28594" providerId="ADAL" clId="{8BA2B171-D546-4C5A-BD3B-6720C76DF600}" dt="2021-03-05T14:05:48.724" v="6113" actId="20577"/>
          <ac:graphicFrameMkLst>
            <pc:docMk/>
            <pc:sldMk cId="2136421834" sldId="850"/>
            <ac:graphicFrameMk id="6" creationId="{4A6E514C-D3C4-4B29-BB5C-DB98C7CA5742}"/>
          </ac:graphicFrameMkLst>
        </pc:graphicFrameChg>
      </pc:sldChg>
      <pc:sldChg chg="modSp add del mod">
        <pc:chgData name="christophe CHUECOS-FONT" userId="7e57acaa-4bc6-4644-8edc-0ecdded28594" providerId="ADAL" clId="{8BA2B171-D546-4C5A-BD3B-6720C76DF600}" dt="2021-03-12T12:43:05.744" v="6142" actId="47"/>
        <pc:sldMkLst>
          <pc:docMk/>
          <pc:sldMk cId="1737365082" sldId="851"/>
        </pc:sldMkLst>
        <pc:spChg chg="mod">
          <ac:chgData name="christophe CHUECOS-FONT" userId="7e57acaa-4bc6-4644-8edc-0ecdded28594" providerId="ADAL" clId="{8BA2B171-D546-4C5A-BD3B-6720C76DF600}" dt="2021-03-05T14:03:46.372" v="6041" actId="27636"/>
          <ac:spMkLst>
            <pc:docMk/>
            <pc:sldMk cId="1737365082" sldId="851"/>
            <ac:spMk id="2" creationId="{232A2D28-A06C-48FD-ABB4-EB7E27B84308}"/>
          </ac:spMkLst>
        </pc:spChg>
        <pc:graphicFrameChg chg="mod">
          <ac:chgData name="christophe CHUECOS-FONT" userId="7e57acaa-4bc6-4644-8edc-0ecdded28594" providerId="ADAL" clId="{8BA2B171-D546-4C5A-BD3B-6720C76DF600}" dt="2021-03-05T14:05:10.367" v="6055"/>
          <ac:graphicFrameMkLst>
            <pc:docMk/>
            <pc:sldMk cId="1737365082" sldId="851"/>
            <ac:graphicFrameMk id="6" creationId="{4A6E514C-D3C4-4B29-BB5C-DB98C7CA5742}"/>
          </ac:graphicFrameMkLst>
        </pc:graphicFrameChg>
      </pc:sldChg>
      <pc:sldMasterChg chg="del delSldLayout">
        <pc:chgData name="christophe CHUECOS-FONT" userId="7e57acaa-4bc6-4644-8edc-0ecdded28594" providerId="ADAL" clId="{8BA2B171-D546-4C5A-BD3B-6720C76DF600}" dt="2021-03-04T17:49:32.956" v="28" actId="2696"/>
        <pc:sldMasterMkLst>
          <pc:docMk/>
          <pc:sldMasterMk cId="3881513092" sldId="2147483660"/>
        </pc:sldMasterMkLst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2905033142" sldId="2147483661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3122766018" sldId="2147483662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2417927869" sldId="2147483663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2190103021" sldId="2147483664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1188889479" sldId="2147483665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1082313948" sldId="2147483666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2481996469" sldId="2147483667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1006191570" sldId="2147483668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2126616432" sldId="2147483669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2304371184" sldId="2147483670"/>
          </pc:sldLayoutMkLst>
        </pc:sldLayoutChg>
        <pc:sldLayoutChg chg="del">
          <pc:chgData name="christophe CHUECOS-FONT" userId="7e57acaa-4bc6-4644-8edc-0ecdded28594" providerId="ADAL" clId="{8BA2B171-D546-4C5A-BD3B-6720C76DF600}" dt="2021-03-04T17:49:32.956" v="28" actId="2696"/>
          <pc:sldLayoutMkLst>
            <pc:docMk/>
            <pc:sldMasterMk cId="3881513092" sldId="2147483660"/>
            <pc:sldLayoutMk cId="566150844" sldId="2147483671"/>
          </pc:sldLayoutMkLst>
        </pc:sldLayoutChg>
      </pc:sldMasterChg>
    </pc:docChg>
  </pc:docChgLst>
  <pc:docChgLst>
    <pc:chgData name="christophe CHUECOS-FONT" userId="7e57acaa-4bc6-4644-8edc-0ecdded28594" providerId="ADAL" clId="{9817B8E0-72E5-4A80-920F-95B62F123057}"/>
    <pc:docChg chg="undo custSel addSld delSld modSld sldOrd">
      <pc:chgData name="christophe CHUECOS-FONT" userId="7e57acaa-4bc6-4644-8edc-0ecdded28594" providerId="ADAL" clId="{9817B8E0-72E5-4A80-920F-95B62F123057}" dt="2021-02-05T13:29:54.453" v="3222" actId="21"/>
      <pc:docMkLst>
        <pc:docMk/>
      </pc:docMkLst>
      <pc:sldChg chg="addSp modSp mod setBg setClrOvrMap">
        <pc:chgData name="christophe CHUECOS-FONT" userId="7e57acaa-4bc6-4644-8edc-0ecdded28594" providerId="ADAL" clId="{9817B8E0-72E5-4A80-920F-95B62F123057}" dt="2021-02-05T12:24:16.456" v="2136" actId="27636"/>
        <pc:sldMkLst>
          <pc:docMk/>
          <pc:sldMk cId="3848639155" sldId="256"/>
        </pc:sldMkLst>
        <pc:spChg chg="mod">
          <ac:chgData name="christophe CHUECOS-FONT" userId="7e57acaa-4bc6-4644-8edc-0ecdded28594" providerId="ADAL" clId="{9817B8E0-72E5-4A80-920F-95B62F123057}" dt="2021-02-05T12:24:00.339" v="2134" actId="27636"/>
          <ac:spMkLst>
            <pc:docMk/>
            <pc:sldMk cId="3848639155" sldId="256"/>
            <ac:spMk id="2" creationId="{CF09AF2F-022D-42E7-9EE8-B11BCE898DAB}"/>
          </ac:spMkLst>
        </pc:spChg>
        <pc:spChg chg="mod">
          <ac:chgData name="christophe CHUECOS-FONT" userId="7e57acaa-4bc6-4644-8edc-0ecdded28594" providerId="ADAL" clId="{9817B8E0-72E5-4A80-920F-95B62F123057}" dt="2021-02-05T12:24:16.456" v="2136" actId="27636"/>
          <ac:spMkLst>
            <pc:docMk/>
            <pc:sldMk cId="3848639155" sldId="256"/>
            <ac:spMk id="3" creationId="{21349F9F-31B4-41DC-B4DB-C097467B5266}"/>
          </ac:spMkLst>
        </pc:spChg>
        <pc:spChg chg="add">
          <ac:chgData name="christophe CHUECOS-FONT" userId="7e57acaa-4bc6-4644-8edc-0ecdded28594" providerId="ADAL" clId="{9817B8E0-72E5-4A80-920F-95B62F123057}" dt="2021-02-05T11:22:21.187" v="69" actId="26606"/>
          <ac:spMkLst>
            <pc:docMk/>
            <pc:sldMk cId="3848639155" sldId="256"/>
            <ac:spMk id="9" creationId="{E49CC64F-7275-4E33-961B-0C5CDC439875}"/>
          </ac:spMkLst>
        </pc:spChg>
        <pc:picChg chg="add">
          <ac:chgData name="christophe CHUECOS-FONT" userId="7e57acaa-4bc6-4644-8edc-0ecdded28594" providerId="ADAL" clId="{9817B8E0-72E5-4A80-920F-95B62F123057}" dt="2021-02-05T11:22:21.187" v="69" actId="26606"/>
          <ac:picMkLst>
            <pc:docMk/>
            <pc:sldMk cId="3848639155" sldId="256"/>
            <ac:picMk id="5" creationId="{7BB6D41E-7376-4805-B0B6-C72AFA381B66}"/>
          </ac:picMkLst>
        </pc:picChg>
      </pc:sldChg>
      <pc:sldChg chg="modSp del mod">
        <pc:chgData name="christophe CHUECOS-FONT" userId="7e57acaa-4bc6-4644-8edc-0ecdded28594" providerId="ADAL" clId="{9817B8E0-72E5-4A80-920F-95B62F123057}" dt="2021-02-05T11:33:50.202" v="489" actId="47"/>
        <pc:sldMkLst>
          <pc:docMk/>
          <pc:sldMk cId="206537414" sldId="257"/>
        </pc:sldMkLst>
        <pc:spChg chg="mod">
          <ac:chgData name="christophe CHUECOS-FONT" userId="7e57acaa-4bc6-4644-8edc-0ecdded28594" providerId="ADAL" clId="{9817B8E0-72E5-4A80-920F-95B62F123057}" dt="2021-02-05T11:27:44.214" v="211" actId="688"/>
          <ac:spMkLst>
            <pc:docMk/>
            <pc:sldMk cId="206537414" sldId="257"/>
            <ac:spMk id="2" creationId="{1C3FB199-37AF-4AEB-91D2-99997345373F}"/>
          </ac:spMkLst>
        </pc:spChg>
        <pc:spChg chg="mod">
          <ac:chgData name="christophe CHUECOS-FONT" userId="7e57acaa-4bc6-4644-8edc-0ecdded28594" providerId="ADAL" clId="{9817B8E0-72E5-4A80-920F-95B62F123057}" dt="2021-02-05T11:27:53.275" v="212" actId="21"/>
          <ac:spMkLst>
            <pc:docMk/>
            <pc:sldMk cId="206537414" sldId="257"/>
            <ac:spMk id="4" creationId="{46D878E7-F5C5-452B-937D-8840816B6ECF}"/>
          </ac:spMkLst>
        </pc:spChg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3809771353" sldId="258"/>
        </pc:sldMkLst>
      </pc:sldChg>
      <pc:sldChg chg="modSp mod ord">
        <pc:chgData name="christophe CHUECOS-FONT" userId="7e57acaa-4bc6-4644-8edc-0ecdded28594" providerId="ADAL" clId="{9817B8E0-72E5-4A80-920F-95B62F123057}" dt="2021-02-05T12:24:32.328" v="2138" actId="2711"/>
        <pc:sldMkLst>
          <pc:docMk/>
          <pc:sldMk cId="3714222650" sldId="259"/>
        </pc:sldMkLst>
        <pc:spChg chg="mod">
          <ac:chgData name="christophe CHUECOS-FONT" userId="7e57acaa-4bc6-4644-8edc-0ecdded28594" providerId="ADAL" clId="{9817B8E0-72E5-4A80-920F-95B62F123057}" dt="2021-02-05T12:24:32.328" v="2138" actId="2711"/>
          <ac:spMkLst>
            <pc:docMk/>
            <pc:sldMk cId="3714222650" sldId="259"/>
            <ac:spMk id="2" creationId="{1C3FB199-37AF-4AEB-91D2-99997345373F}"/>
          </ac:spMkLst>
        </pc:spChg>
        <pc:spChg chg="mod">
          <ac:chgData name="christophe CHUECOS-FONT" userId="7e57acaa-4bc6-4644-8edc-0ecdded28594" providerId="ADAL" clId="{9817B8E0-72E5-4A80-920F-95B62F123057}" dt="2021-02-05T12:24:26.880" v="2137" actId="2711"/>
          <ac:spMkLst>
            <pc:docMk/>
            <pc:sldMk cId="3714222650" sldId="259"/>
            <ac:spMk id="3" creationId="{775A997C-8194-4B08-BB3E-D1F92744FD2D}"/>
          </ac:spMkLst>
        </pc:spChg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2379008173" sldId="261"/>
        </pc:sldMkLst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2864700410" sldId="266"/>
        </pc:sldMkLst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997367023" sldId="267"/>
        </pc:sldMkLst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2362574531" sldId="269"/>
        </pc:sldMkLst>
      </pc:sldChg>
      <pc:sldChg chg="del">
        <pc:chgData name="christophe CHUECOS-FONT" userId="7e57acaa-4bc6-4644-8edc-0ecdded28594" providerId="ADAL" clId="{9817B8E0-72E5-4A80-920F-95B62F123057}" dt="2021-02-05T12:37:10.431" v="2312" actId="47"/>
        <pc:sldMkLst>
          <pc:docMk/>
          <pc:sldMk cId="2390251229" sldId="270"/>
        </pc:sldMkLst>
      </pc:sldChg>
      <pc:sldChg chg="addSp delSp modSp mod setBg">
        <pc:chgData name="christophe CHUECOS-FONT" userId="7e57acaa-4bc6-4644-8edc-0ecdded28594" providerId="ADAL" clId="{9817B8E0-72E5-4A80-920F-95B62F123057}" dt="2021-02-05T12:24:44.312" v="2140" actId="2711"/>
        <pc:sldMkLst>
          <pc:docMk/>
          <pc:sldMk cId="251691404" sldId="276"/>
        </pc:sldMkLst>
        <pc:spChg chg="mod">
          <ac:chgData name="christophe CHUECOS-FONT" userId="7e57acaa-4bc6-4644-8edc-0ecdded28594" providerId="ADAL" clId="{9817B8E0-72E5-4A80-920F-95B62F123057}" dt="2021-02-05T12:24:37.845" v="2139" actId="2711"/>
          <ac:spMkLst>
            <pc:docMk/>
            <pc:sldMk cId="251691404" sldId="276"/>
            <ac:spMk id="2" creationId="{1C3FB199-37AF-4AEB-91D2-99997345373F}"/>
          </ac:spMkLst>
        </pc:spChg>
        <pc:spChg chg="mod">
          <ac:chgData name="christophe CHUECOS-FONT" userId="7e57acaa-4bc6-4644-8edc-0ecdded28594" providerId="ADAL" clId="{9817B8E0-72E5-4A80-920F-95B62F123057}" dt="2021-02-05T11:33:58.770" v="492" actId="6549"/>
          <ac:spMkLst>
            <pc:docMk/>
            <pc:sldMk cId="251691404" sldId="276"/>
            <ac:spMk id="4" creationId="{46D878E7-F5C5-452B-937D-8840816B6ECF}"/>
          </ac:spMkLst>
        </pc:spChg>
        <pc:spChg chg="del">
          <ac:chgData name="christophe CHUECOS-FONT" userId="7e57acaa-4bc6-4644-8edc-0ecdded28594" providerId="ADAL" clId="{9817B8E0-72E5-4A80-920F-95B62F123057}" dt="2021-02-05T11:44:29.363" v="997" actId="26606"/>
          <ac:spMkLst>
            <pc:docMk/>
            <pc:sldMk cId="251691404" sldId="276"/>
            <ac:spMk id="35" creationId="{A3BAF07C-C39E-42EB-BB22-8D46691D9735}"/>
          </ac:spMkLst>
        </pc:spChg>
        <pc:spChg chg="del">
          <ac:chgData name="christophe CHUECOS-FONT" userId="7e57acaa-4bc6-4644-8edc-0ecdded28594" providerId="ADAL" clId="{9817B8E0-72E5-4A80-920F-95B62F123057}" dt="2021-02-05T11:44:29.363" v="997" actId="26606"/>
          <ac:spMkLst>
            <pc:docMk/>
            <pc:sldMk cId="251691404" sldId="276"/>
            <ac:spMk id="36" creationId="{A7795DFA-888F-47E2-B44E-DE1D3B3E46A4}"/>
          </ac:spMkLst>
        </pc:spChg>
        <pc:grpChg chg="del">
          <ac:chgData name="christophe CHUECOS-FONT" userId="7e57acaa-4bc6-4644-8edc-0ecdded28594" providerId="ADAL" clId="{9817B8E0-72E5-4A80-920F-95B62F123057}" dt="2021-02-05T11:44:29.363" v="997" actId="26606"/>
          <ac:grpSpMkLst>
            <pc:docMk/>
            <pc:sldMk cId="251691404" sldId="276"/>
            <ac:grpSpMk id="37" creationId="{D8E9CF54-0466-4261-9E62-0249E60E1886}"/>
          </ac:grpSpMkLst>
        </pc:grpChg>
        <pc:graphicFrameChg chg="add mod modGraphic">
          <ac:chgData name="christophe CHUECOS-FONT" userId="7e57acaa-4bc6-4644-8edc-0ecdded28594" providerId="ADAL" clId="{9817B8E0-72E5-4A80-920F-95B62F123057}" dt="2021-02-05T12:24:44.312" v="2140" actId="2711"/>
          <ac:graphicFrameMkLst>
            <pc:docMk/>
            <pc:sldMk cId="251691404" sldId="276"/>
            <ac:graphicFrameMk id="3" creationId="{90A39BD7-E179-4570-8079-E6A295B49267}"/>
          </ac:graphicFrameMkLst>
        </pc:graphicFrameChg>
        <pc:picChg chg="del">
          <ac:chgData name="christophe CHUECOS-FONT" userId="7e57acaa-4bc6-4644-8edc-0ecdded28594" providerId="ADAL" clId="{9817B8E0-72E5-4A80-920F-95B62F123057}" dt="2021-02-05T11:34:01.422" v="493" actId="478"/>
          <ac:picMkLst>
            <pc:docMk/>
            <pc:sldMk cId="251691404" sldId="276"/>
            <ac:picMk id="5" creationId="{FDB63342-D046-498C-9EBC-55F07AABEE34}"/>
          </ac:picMkLst>
        </pc:picChg>
      </pc:sldChg>
      <pc:sldChg chg="del">
        <pc:chgData name="christophe CHUECOS-FONT" userId="7e57acaa-4bc6-4644-8edc-0ecdded28594" providerId="ADAL" clId="{9817B8E0-72E5-4A80-920F-95B62F123057}" dt="2021-02-05T11:33:50.658" v="490" actId="47"/>
        <pc:sldMkLst>
          <pc:docMk/>
          <pc:sldMk cId="2397986130" sldId="277"/>
        </pc:sldMkLst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3681988257" sldId="278"/>
        </pc:sldMkLst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2204652671" sldId="279"/>
        </pc:sldMkLst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2034358850" sldId="280"/>
        </pc:sldMkLst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4019404366" sldId="281"/>
        </pc:sldMkLst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3584520135" sldId="282"/>
        </pc:sldMkLst>
      </pc:sldChg>
      <pc:sldChg chg="del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2467058271" sldId="283"/>
        </pc:sldMkLst>
      </pc:sldChg>
      <pc:sldChg chg="addSp delSp modSp mod setBg delDesignElem">
        <pc:chgData name="christophe CHUECOS-FONT" userId="7e57acaa-4bc6-4644-8edc-0ecdded28594" providerId="ADAL" clId="{9817B8E0-72E5-4A80-920F-95B62F123057}" dt="2021-02-05T13:27:44.496" v="3207" actId="26606"/>
        <pc:sldMkLst>
          <pc:docMk/>
          <pc:sldMk cId="3185261458" sldId="285"/>
        </pc:sldMkLst>
        <pc:spChg chg="mod">
          <ac:chgData name="christophe CHUECOS-FONT" userId="7e57acaa-4bc6-4644-8edc-0ecdded28594" providerId="ADAL" clId="{9817B8E0-72E5-4A80-920F-95B62F123057}" dt="2021-02-05T13:27:44.496" v="3207" actId="26606"/>
          <ac:spMkLst>
            <pc:docMk/>
            <pc:sldMk cId="3185261458" sldId="285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9817B8E0-72E5-4A80-920F-95B62F123057}" dt="2021-02-05T13:27:44.496" v="3207" actId="26606"/>
          <ac:spMkLst>
            <pc:docMk/>
            <pc:sldMk cId="3185261458" sldId="285"/>
            <ac:spMk id="10" creationId="{2104DD9E-7F53-465D-8561-41BB61362ACA}"/>
          </ac:spMkLst>
        </pc:spChg>
        <pc:spChg chg="add del">
          <ac:chgData name="christophe CHUECOS-FONT" userId="7e57acaa-4bc6-4644-8edc-0ecdded28594" providerId="ADAL" clId="{9817B8E0-72E5-4A80-920F-95B62F123057}" dt="2021-02-05T13:27:44.480" v="3206" actId="26606"/>
          <ac:spMkLst>
            <pc:docMk/>
            <pc:sldMk cId="3185261458" sldId="285"/>
            <ac:spMk id="15" creationId="{5C8908E2-EE49-44D2-9428-A28D2312A8D5}"/>
          </ac:spMkLst>
        </pc:spChg>
        <pc:spChg chg="add del">
          <ac:chgData name="christophe CHUECOS-FONT" userId="7e57acaa-4bc6-4644-8edc-0ecdded28594" providerId="ADAL" clId="{9817B8E0-72E5-4A80-920F-95B62F123057}" dt="2021-02-05T13:27:44.480" v="3206" actId="26606"/>
          <ac:spMkLst>
            <pc:docMk/>
            <pc:sldMk cId="3185261458" sldId="285"/>
            <ac:spMk id="21" creationId="{47159AC2-C98F-4C93-B774-B19EE1BEBDB1}"/>
          </ac:spMkLst>
        </pc:spChg>
        <pc:spChg chg="add del">
          <ac:chgData name="christophe CHUECOS-FONT" userId="7e57acaa-4bc6-4644-8edc-0ecdded28594" providerId="ADAL" clId="{9817B8E0-72E5-4A80-920F-95B62F123057}" dt="2021-02-05T13:27:44.480" v="3206" actId="26606"/>
          <ac:spMkLst>
            <pc:docMk/>
            <pc:sldMk cId="3185261458" sldId="285"/>
            <ac:spMk id="23" creationId="{ED888B23-07FA-482A-96DF-47E31AF1A603}"/>
          </ac:spMkLst>
        </pc:spChg>
        <pc:spChg chg="add">
          <ac:chgData name="christophe CHUECOS-FONT" userId="7e57acaa-4bc6-4644-8edc-0ecdded28594" providerId="ADAL" clId="{9817B8E0-72E5-4A80-920F-95B62F123057}" dt="2021-02-05T13:27:44.496" v="3207" actId="26606"/>
          <ac:spMkLst>
            <pc:docMk/>
            <pc:sldMk cId="3185261458" sldId="285"/>
            <ac:spMk id="25" creationId="{777A147A-9ED8-46B4-8660-1B3C2AA880B5}"/>
          </ac:spMkLst>
        </pc:spChg>
        <pc:spChg chg="add">
          <ac:chgData name="christophe CHUECOS-FONT" userId="7e57acaa-4bc6-4644-8edc-0ecdded28594" providerId="ADAL" clId="{9817B8E0-72E5-4A80-920F-95B62F123057}" dt="2021-02-05T13:27:44.496" v="3207" actId="26606"/>
          <ac:spMkLst>
            <pc:docMk/>
            <pc:sldMk cId="3185261458" sldId="285"/>
            <ac:spMk id="26" creationId="{5D6C15A0-C087-4593-8414-2B4EC1CDC3DE}"/>
          </ac:spMkLst>
        </pc:spChg>
        <pc:grpChg chg="add del">
          <ac:chgData name="christophe CHUECOS-FONT" userId="7e57acaa-4bc6-4644-8edc-0ecdded28594" providerId="ADAL" clId="{9817B8E0-72E5-4A80-920F-95B62F123057}" dt="2021-02-05T13:27:44.480" v="3206" actId="26606"/>
          <ac:grpSpMkLst>
            <pc:docMk/>
            <pc:sldMk cId="3185261458" sldId="285"/>
            <ac:grpSpMk id="17" creationId="{8553B86A-3688-4590-934F-8CD074A9BF68}"/>
          </ac:grpSpMkLst>
        </pc:grpChg>
      </pc:sldChg>
      <pc:sldChg chg="modSp mod ord">
        <pc:chgData name="christophe CHUECOS-FONT" userId="7e57acaa-4bc6-4644-8edc-0ecdded28594" providerId="ADAL" clId="{9817B8E0-72E5-4A80-920F-95B62F123057}" dt="2021-02-05T12:40:00.548" v="2388" actId="113"/>
        <pc:sldMkLst>
          <pc:docMk/>
          <pc:sldMk cId="329831576" sldId="286"/>
        </pc:sldMkLst>
        <pc:spChg chg="mod">
          <ac:chgData name="christophe CHUECOS-FONT" userId="7e57acaa-4bc6-4644-8edc-0ecdded28594" providerId="ADAL" clId="{9817B8E0-72E5-4A80-920F-95B62F123057}" dt="2021-02-05T12:40:00.548" v="2388" actId="113"/>
          <ac:spMkLst>
            <pc:docMk/>
            <pc:sldMk cId="329831576" sldId="286"/>
            <ac:spMk id="3" creationId="{AE031ED6-BBEB-4F69-BB03-35ED79344BB4}"/>
          </ac:spMkLst>
        </pc:spChg>
      </pc:sldChg>
      <pc:sldChg chg="del ord">
        <pc:chgData name="christophe CHUECOS-FONT" userId="7e57acaa-4bc6-4644-8edc-0ecdded28594" providerId="ADAL" clId="{9817B8E0-72E5-4A80-920F-95B62F123057}" dt="2021-02-05T12:16:23.498" v="1888" actId="47"/>
        <pc:sldMkLst>
          <pc:docMk/>
          <pc:sldMk cId="2609074591" sldId="288"/>
        </pc:sldMkLst>
      </pc:sldChg>
      <pc:sldChg chg="del ord">
        <pc:chgData name="christophe CHUECOS-FONT" userId="7e57acaa-4bc6-4644-8edc-0ecdded28594" providerId="ADAL" clId="{9817B8E0-72E5-4A80-920F-95B62F123057}" dt="2021-02-05T12:37:41.579" v="2315" actId="47"/>
        <pc:sldMkLst>
          <pc:docMk/>
          <pc:sldMk cId="1567861560" sldId="289"/>
        </pc:sldMkLst>
      </pc:sldChg>
      <pc:sldChg chg="del">
        <pc:chgData name="christophe CHUECOS-FONT" userId="7e57acaa-4bc6-4644-8edc-0ecdded28594" providerId="ADAL" clId="{9817B8E0-72E5-4A80-920F-95B62F123057}" dt="2021-02-05T12:37:08.603" v="2311" actId="47"/>
        <pc:sldMkLst>
          <pc:docMk/>
          <pc:sldMk cId="244713211" sldId="291"/>
        </pc:sldMkLst>
      </pc:sldChg>
      <pc:sldChg chg="modSp mod ord">
        <pc:chgData name="christophe CHUECOS-FONT" userId="7e57acaa-4bc6-4644-8edc-0ecdded28594" providerId="ADAL" clId="{9817B8E0-72E5-4A80-920F-95B62F123057}" dt="2021-02-05T12:26:14.379" v="2163" actId="1076"/>
        <pc:sldMkLst>
          <pc:docMk/>
          <pc:sldMk cId="966349221" sldId="667"/>
        </pc:sldMkLst>
        <pc:spChg chg="mod">
          <ac:chgData name="christophe CHUECOS-FONT" userId="7e57acaa-4bc6-4644-8edc-0ecdded28594" providerId="ADAL" clId="{9817B8E0-72E5-4A80-920F-95B62F123057}" dt="2021-02-05T12:26:13.086" v="2162" actId="20577"/>
          <ac:spMkLst>
            <pc:docMk/>
            <pc:sldMk cId="966349221" sldId="667"/>
            <ac:spMk id="2" creationId="{02517F6E-26E9-44E8-815E-774552D95FD0}"/>
          </ac:spMkLst>
        </pc:spChg>
        <pc:picChg chg="mod">
          <ac:chgData name="christophe CHUECOS-FONT" userId="7e57acaa-4bc6-4644-8edc-0ecdded28594" providerId="ADAL" clId="{9817B8E0-72E5-4A80-920F-95B62F123057}" dt="2021-02-05T12:26:14.379" v="2163" actId="1076"/>
          <ac:picMkLst>
            <pc:docMk/>
            <pc:sldMk cId="966349221" sldId="667"/>
            <ac:picMk id="36" creationId="{FC9EF324-339C-4E46-9508-BF0C86AAC793}"/>
          </ac:picMkLst>
        </pc:picChg>
      </pc:sldChg>
      <pc:sldChg chg="ord">
        <pc:chgData name="christophe CHUECOS-FONT" userId="7e57acaa-4bc6-4644-8edc-0ecdded28594" providerId="ADAL" clId="{9817B8E0-72E5-4A80-920F-95B62F123057}" dt="2021-02-05T12:16:09.764" v="1883"/>
        <pc:sldMkLst>
          <pc:docMk/>
          <pc:sldMk cId="649958680" sldId="672"/>
        </pc:sldMkLst>
      </pc:sldChg>
      <pc:sldChg chg="addSp delSp modSp mod ord">
        <pc:chgData name="christophe CHUECOS-FONT" userId="7e57acaa-4bc6-4644-8edc-0ecdded28594" providerId="ADAL" clId="{9817B8E0-72E5-4A80-920F-95B62F123057}" dt="2021-02-05T12:15:34.143" v="1880" actId="6549"/>
        <pc:sldMkLst>
          <pc:docMk/>
          <pc:sldMk cId="3843576302" sldId="677"/>
        </pc:sldMkLst>
        <pc:spChg chg="mod">
          <ac:chgData name="christophe CHUECOS-FONT" userId="7e57acaa-4bc6-4644-8edc-0ecdded28594" providerId="ADAL" clId="{9817B8E0-72E5-4A80-920F-95B62F123057}" dt="2021-02-05T12:15:34.143" v="1880" actId="6549"/>
          <ac:spMkLst>
            <pc:docMk/>
            <pc:sldMk cId="3843576302" sldId="677"/>
            <ac:spMk id="2" creationId="{02517F6E-26E9-44E8-815E-774552D95FD0}"/>
          </ac:spMkLst>
        </pc:spChg>
        <pc:spChg chg="del">
          <ac:chgData name="christophe CHUECOS-FONT" userId="7e57acaa-4bc6-4644-8edc-0ecdded28594" providerId="ADAL" clId="{9817B8E0-72E5-4A80-920F-95B62F123057}" dt="2021-02-05T11:54:35.513" v="1380" actId="21"/>
          <ac:spMkLst>
            <pc:docMk/>
            <pc:sldMk cId="3843576302" sldId="677"/>
            <ac:spMk id="13" creationId="{AE64876D-DF14-4EE2-9B36-9EC38968D0B5}"/>
          </ac:spMkLst>
        </pc:spChg>
        <pc:spChg chg="del">
          <ac:chgData name="christophe CHUECOS-FONT" userId="7e57acaa-4bc6-4644-8edc-0ecdded28594" providerId="ADAL" clId="{9817B8E0-72E5-4A80-920F-95B62F123057}" dt="2021-02-05T11:54:32.554" v="1379" actId="21"/>
          <ac:spMkLst>
            <pc:docMk/>
            <pc:sldMk cId="3843576302" sldId="677"/>
            <ac:spMk id="14" creationId="{A2528021-6B36-49A2-ABF0-81A9C2CEDD8C}"/>
          </ac:spMkLst>
        </pc:spChg>
        <pc:graphicFrameChg chg="add del mod modGraphic">
          <ac:chgData name="christophe CHUECOS-FONT" userId="7e57acaa-4bc6-4644-8edc-0ecdded28594" providerId="ADAL" clId="{9817B8E0-72E5-4A80-920F-95B62F123057}" dt="2021-02-05T11:59:40.523" v="1441" actId="1032"/>
          <ac:graphicFrameMkLst>
            <pc:docMk/>
            <pc:sldMk cId="3843576302" sldId="677"/>
            <ac:graphicFrameMk id="5" creationId="{9E957F53-34EF-43A1-9268-238FC9D37C0A}"/>
          </ac:graphicFrameMkLst>
        </pc:graphicFrameChg>
      </pc:sldChg>
      <pc:sldChg chg="del ord">
        <pc:chgData name="christophe CHUECOS-FONT" userId="7e57acaa-4bc6-4644-8edc-0ecdded28594" providerId="ADAL" clId="{9817B8E0-72E5-4A80-920F-95B62F123057}" dt="2021-02-05T13:18:43.409" v="3139" actId="47"/>
        <pc:sldMkLst>
          <pc:docMk/>
          <pc:sldMk cId="2255016871" sldId="686"/>
        </pc:sldMkLst>
      </pc:sldChg>
      <pc:sldChg chg="modSp ord">
        <pc:chgData name="christophe CHUECOS-FONT" userId="7e57acaa-4bc6-4644-8edc-0ecdded28594" providerId="ADAL" clId="{9817B8E0-72E5-4A80-920F-95B62F123057}" dt="2021-02-05T12:25:44.403" v="2147" actId="2711"/>
        <pc:sldMkLst>
          <pc:docMk/>
          <pc:sldMk cId="2860654540" sldId="696"/>
        </pc:sldMkLst>
        <pc:graphicFrameChg chg="mod">
          <ac:chgData name="christophe CHUECOS-FONT" userId="7e57acaa-4bc6-4644-8edc-0ecdded28594" providerId="ADAL" clId="{9817B8E0-72E5-4A80-920F-95B62F123057}" dt="2021-02-05T12:25:44.403" v="2147" actId="2711"/>
          <ac:graphicFrameMkLst>
            <pc:docMk/>
            <pc:sldMk cId="2860654540" sldId="696"/>
            <ac:graphicFrameMk id="6" creationId="{4A6E514C-D3C4-4B29-BB5C-DB98C7CA5742}"/>
          </ac:graphicFrameMkLst>
        </pc:graphicFrameChg>
      </pc:sldChg>
      <pc:sldChg chg="del ord">
        <pc:chgData name="christophe CHUECOS-FONT" userId="7e57acaa-4bc6-4644-8edc-0ecdded28594" providerId="ADAL" clId="{9817B8E0-72E5-4A80-920F-95B62F123057}" dt="2021-02-05T12:15:57.737" v="1881" actId="47"/>
        <pc:sldMkLst>
          <pc:docMk/>
          <pc:sldMk cId="1211639872" sldId="699"/>
        </pc:sldMkLst>
      </pc:sldChg>
      <pc:sldChg chg="ord">
        <pc:chgData name="christophe CHUECOS-FONT" userId="7e57acaa-4bc6-4644-8edc-0ecdded28594" providerId="ADAL" clId="{9817B8E0-72E5-4A80-920F-95B62F123057}" dt="2021-02-05T12:16:21.721" v="1887"/>
        <pc:sldMkLst>
          <pc:docMk/>
          <pc:sldMk cId="2474754196" sldId="701"/>
        </pc:sldMkLst>
      </pc:sldChg>
      <pc:sldChg chg="addSp delSp modSp mod setBg">
        <pc:chgData name="christophe CHUECOS-FONT" userId="7e57acaa-4bc6-4644-8edc-0ecdded28594" providerId="ADAL" clId="{9817B8E0-72E5-4A80-920F-95B62F123057}" dt="2021-02-05T13:06:55.683" v="3036" actId="255"/>
        <pc:sldMkLst>
          <pc:docMk/>
          <pc:sldMk cId="1435419321" sldId="720"/>
        </pc:sldMkLst>
        <pc:spChg chg="mod">
          <ac:chgData name="christophe CHUECOS-FONT" userId="7e57acaa-4bc6-4644-8edc-0ecdded28594" providerId="ADAL" clId="{9817B8E0-72E5-4A80-920F-95B62F123057}" dt="2021-02-05T12:51:25.373" v="2772" actId="20577"/>
          <ac:spMkLst>
            <pc:docMk/>
            <pc:sldMk cId="1435419321" sldId="720"/>
            <ac:spMk id="2" creationId="{00000000-0000-0000-0000-000000000000}"/>
          </ac:spMkLst>
        </pc:spChg>
        <pc:spChg chg="ord">
          <ac:chgData name="christophe CHUECOS-FONT" userId="7e57acaa-4bc6-4644-8edc-0ecdded28594" providerId="ADAL" clId="{9817B8E0-72E5-4A80-920F-95B62F123057}" dt="2021-02-05T12:51:17.914" v="2760" actId="26606"/>
          <ac:spMkLst>
            <pc:docMk/>
            <pc:sldMk cId="1435419321" sldId="720"/>
            <ac:spMk id="3" creationId="{FE511234-0564-45CF-9753-9673E2310CC0}"/>
          </ac:spMkLst>
        </pc:spChg>
        <pc:spChg chg="mod">
          <ac:chgData name="christophe CHUECOS-FONT" userId="7e57acaa-4bc6-4644-8edc-0ecdded28594" providerId="ADAL" clId="{9817B8E0-72E5-4A80-920F-95B62F123057}" dt="2021-02-05T13:06:55.683" v="3036" actId="255"/>
          <ac:spMkLst>
            <pc:docMk/>
            <pc:sldMk cId="1435419321" sldId="720"/>
            <ac:spMk id="10" creationId="{2104DD9E-7F53-465D-8561-41BB61362ACA}"/>
          </ac:spMkLst>
        </pc:spChg>
        <pc:spChg chg="del">
          <ac:chgData name="christophe CHUECOS-FONT" userId="7e57acaa-4bc6-4644-8edc-0ecdded28594" providerId="ADAL" clId="{9817B8E0-72E5-4A80-920F-95B62F123057}" dt="2021-02-05T12:50:59.692" v="2758" actId="21"/>
          <ac:spMkLst>
            <pc:docMk/>
            <pc:sldMk cId="1435419321" sldId="720"/>
            <ac:spMk id="15" creationId="{AA543B3D-8F8C-4690-ABD5-D0AB8490C1EC}"/>
          </ac:spMkLst>
        </pc:spChg>
        <pc:spChg chg="del">
          <ac:chgData name="christophe CHUECOS-FONT" userId="7e57acaa-4bc6-4644-8edc-0ecdded28594" providerId="ADAL" clId="{9817B8E0-72E5-4A80-920F-95B62F123057}" dt="2021-02-05T12:51:03.364" v="2759" actId="21"/>
          <ac:spMkLst>
            <pc:docMk/>
            <pc:sldMk cId="1435419321" sldId="720"/>
            <ac:spMk id="16" creationId="{4DD6FF41-E944-4416-897D-4BD87EB7742E}"/>
          </ac:spMkLst>
        </pc:spChg>
        <pc:spChg chg="del">
          <ac:chgData name="christophe CHUECOS-FONT" userId="7e57acaa-4bc6-4644-8edc-0ecdded28594" providerId="ADAL" clId="{9817B8E0-72E5-4A80-920F-95B62F123057}" dt="2021-02-05T12:51:17.914" v="2760" actId="26606"/>
          <ac:spMkLst>
            <pc:docMk/>
            <pc:sldMk cId="1435419321" sldId="720"/>
            <ac:spMk id="46" creationId="{1CE580D1-F917-4567-AFB4-99AA9B52ADF0}"/>
          </ac:spMkLst>
        </pc:spChg>
        <pc:spChg chg="del">
          <ac:chgData name="christophe CHUECOS-FONT" userId="7e57acaa-4bc6-4644-8edc-0ecdded28594" providerId="ADAL" clId="{9817B8E0-72E5-4A80-920F-95B62F123057}" dt="2021-02-05T12:51:17.914" v="2760" actId="26606"/>
          <ac:spMkLst>
            <pc:docMk/>
            <pc:sldMk cId="1435419321" sldId="720"/>
            <ac:spMk id="54" creationId="{8D095B41-7312-4603-9F0F-93387C353134}"/>
          </ac:spMkLst>
        </pc:spChg>
        <pc:spChg chg="del">
          <ac:chgData name="christophe CHUECOS-FONT" userId="7e57acaa-4bc6-4644-8edc-0ecdded28594" providerId="ADAL" clId="{9817B8E0-72E5-4A80-920F-95B62F123057}" dt="2021-02-05T12:51:17.914" v="2760" actId="26606"/>
          <ac:spMkLst>
            <pc:docMk/>
            <pc:sldMk cId="1435419321" sldId="720"/>
            <ac:spMk id="56" creationId="{1042C936-444C-4F0D-9737-291EAFE1E7E4}"/>
          </ac:spMkLst>
        </pc:spChg>
        <pc:spChg chg="add">
          <ac:chgData name="christophe CHUECOS-FONT" userId="7e57acaa-4bc6-4644-8edc-0ecdded28594" providerId="ADAL" clId="{9817B8E0-72E5-4A80-920F-95B62F123057}" dt="2021-02-05T12:51:17.914" v="2760" actId="26606"/>
          <ac:spMkLst>
            <pc:docMk/>
            <pc:sldMk cId="1435419321" sldId="720"/>
            <ac:spMk id="67" creationId="{FD6EDB49-211E-499D-9A08-6C5FF3D060F7}"/>
          </ac:spMkLst>
        </pc:spChg>
        <pc:spChg chg="add">
          <ac:chgData name="christophe CHUECOS-FONT" userId="7e57acaa-4bc6-4644-8edc-0ecdded28594" providerId="ADAL" clId="{9817B8E0-72E5-4A80-920F-95B62F123057}" dt="2021-02-05T12:51:17.914" v="2760" actId="26606"/>
          <ac:spMkLst>
            <pc:docMk/>
            <pc:sldMk cId="1435419321" sldId="720"/>
            <ac:spMk id="69" creationId="{38F9F37E-D3CF-4F3D-96C2-25307819DF2D}"/>
          </ac:spMkLst>
        </pc:spChg>
        <pc:spChg chg="add">
          <ac:chgData name="christophe CHUECOS-FONT" userId="7e57acaa-4bc6-4644-8edc-0ecdded28594" providerId="ADAL" clId="{9817B8E0-72E5-4A80-920F-95B62F123057}" dt="2021-02-05T12:51:17.914" v="2760" actId="26606"/>
          <ac:spMkLst>
            <pc:docMk/>
            <pc:sldMk cId="1435419321" sldId="720"/>
            <ac:spMk id="71" creationId="{C5FFF17D-767C-40E7-8C89-962F1F54BCD0}"/>
          </ac:spMkLst>
        </pc:spChg>
        <pc:spChg chg="add">
          <ac:chgData name="christophe CHUECOS-FONT" userId="7e57acaa-4bc6-4644-8edc-0ecdded28594" providerId="ADAL" clId="{9817B8E0-72E5-4A80-920F-95B62F123057}" dt="2021-02-05T12:51:17.914" v="2760" actId="26606"/>
          <ac:spMkLst>
            <pc:docMk/>
            <pc:sldMk cId="1435419321" sldId="720"/>
            <ac:spMk id="73" creationId="{E69F39E1-619D-4D9E-8823-8BD8CC3206B6}"/>
          </ac:spMkLst>
        </pc:spChg>
        <pc:spChg chg="add">
          <ac:chgData name="christophe CHUECOS-FONT" userId="7e57acaa-4bc6-4644-8edc-0ecdded28594" providerId="ADAL" clId="{9817B8E0-72E5-4A80-920F-95B62F123057}" dt="2021-02-05T12:51:17.914" v="2760" actId="26606"/>
          <ac:spMkLst>
            <pc:docMk/>
            <pc:sldMk cId="1435419321" sldId="720"/>
            <ac:spMk id="75" creationId="{C8C53F47-DF50-454F-A5A6-6B969748D972}"/>
          </ac:spMkLst>
        </pc:spChg>
        <pc:picChg chg="del">
          <ac:chgData name="christophe CHUECOS-FONT" userId="7e57acaa-4bc6-4644-8edc-0ecdded28594" providerId="ADAL" clId="{9817B8E0-72E5-4A80-920F-95B62F123057}" dt="2021-02-05T12:51:17.914" v="2760" actId="26606"/>
          <ac:picMkLst>
            <pc:docMk/>
            <pc:sldMk cId="1435419321" sldId="720"/>
            <ac:picMk id="48" creationId="{1F5620B8-A2D8-4568-B566-F0453A0D9167}"/>
          </ac:picMkLst>
        </pc:picChg>
        <pc:picChg chg="del">
          <ac:chgData name="christophe CHUECOS-FONT" userId="7e57acaa-4bc6-4644-8edc-0ecdded28594" providerId="ADAL" clId="{9817B8E0-72E5-4A80-920F-95B62F123057}" dt="2021-02-05T12:51:17.914" v="2760" actId="26606"/>
          <ac:picMkLst>
            <pc:docMk/>
            <pc:sldMk cId="1435419321" sldId="720"/>
            <ac:picMk id="60" creationId="{419FDB25-3050-4009-9806-3000DDD1C083}"/>
          </ac:picMkLst>
        </pc:picChg>
        <pc:picChg chg="add">
          <ac:chgData name="christophe CHUECOS-FONT" userId="7e57acaa-4bc6-4644-8edc-0ecdded28594" providerId="ADAL" clId="{9817B8E0-72E5-4A80-920F-95B62F123057}" dt="2021-02-05T12:51:17.914" v="2760" actId="26606"/>
          <ac:picMkLst>
            <pc:docMk/>
            <pc:sldMk cId="1435419321" sldId="720"/>
            <ac:picMk id="77" creationId="{6A26901A-BC62-4A3A-A07A-65E1F3DDDEC6}"/>
          </ac:picMkLst>
        </pc:picChg>
        <pc:cxnChg chg="del">
          <ac:chgData name="christophe CHUECOS-FONT" userId="7e57acaa-4bc6-4644-8edc-0ecdded28594" providerId="ADAL" clId="{9817B8E0-72E5-4A80-920F-95B62F123057}" dt="2021-02-05T12:51:17.914" v="2760" actId="26606"/>
          <ac:cxnSpMkLst>
            <pc:docMk/>
            <pc:sldMk cId="1435419321" sldId="720"/>
            <ac:cxnSpMk id="50" creationId="{1C7D2BA4-4B7A-4596-8BCC-5CF715423894}"/>
          </ac:cxnSpMkLst>
        </pc:cxnChg>
        <pc:cxnChg chg="del">
          <ac:chgData name="christophe CHUECOS-FONT" userId="7e57acaa-4bc6-4644-8edc-0ecdded28594" providerId="ADAL" clId="{9817B8E0-72E5-4A80-920F-95B62F123057}" dt="2021-02-05T12:51:17.914" v="2760" actId="26606"/>
          <ac:cxnSpMkLst>
            <pc:docMk/>
            <pc:sldMk cId="1435419321" sldId="720"/>
            <ac:cxnSpMk id="52" creationId="{4977F1E1-2B6F-4BB6-899F-67D8764D83C5}"/>
          </ac:cxnSpMkLst>
        </pc:cxnChg>
        <pc:cxnChg chg="del">
          <ac:chgData name="christophe CHUECOS-FONT" userId="7e57acaa-4bc6-4644-8edc-0ecdded28594" providerId="ADAL" clId="{9817B8E0-72E5-4A80-920F-95B62F123057}" dt="2021-02-05T12:51:17.914" v="2760" actId="26606"/>
          <ac:cxnSpMkLst>
            <pc:docMk/>
            <pc:sldMk cId="1435419321" sldId="720"/>
            <ac:cxnSpMk id="58" creationId="{B61C4D9F-F4AF-4ED2-9310-56EB2E19C084}"/>
          </ac:cxnSpMkLst>
        </pc:cxnChg>
        <pc:cxnChg chg="del">
          <ac:chgData name="christophe CHUECOS-FONT" userId="7e57acaa-4bc6-4644-8edc-0ecdded28594" providerId="ADAL" clId="{9817B8E0-72E5-4A80-920F-95B62F123057}" dt="2021-02-05T12:51:17.914" v="2760" actId="26606"/>
          <ac:cxnSpMkLst>
            <pc:docMk/>
            <pc:sldMk cId="1435419321" sldId="720"/>
            <ac:cxnSpMk id="62" creationId="{8063EF0F-7BC0-4CFB-AB98-20A8DD91D70F}"/>
          </ac:cxnSpMkLst>
        </pc:cxnChg>
      </pc:sldChg>
      <pc:sldChg chg="del">
        <pc:chgData name="christophe CHUECOS-FONT" userId="7e57acaa-4bc6-4644-8edc-0ecdded28594" providerId="ADAL" clId="{9817B8E0-72E5-4A80-920F-95B62F123057}" dt="2021-02-05T12:16:43.357" v="1892" actId="47"/>
        <pc:sldMkLst>
          <pc:docMk/>
          <pc:sldMk cId="1825095438" sldId="721"/>
        </pc:sldMkLst>
      </pc:sldChg>
      <pc:sldChg chg="del">
        <pc:chgData name="christophe CHUECOS-FONT" userId="7e57acaa-4bc6-4644-8edc-0ecdded28594" providerId="ADAL" clId="{9817B8E0-72E5-4A80-920F-95B62F123057}" dt="2021-02-05T12:16:45.202" v="1893" actId="47"/>
        <pc:sldMkLst>
          <pc:docMk/>
          <pc:sldMk cId="3767349465" sldId="722"/>
        </pc:sldMkLst>
      </pc:sldChg>
      <pc:sldChg chg="del">
        <pc:chgData name="christophe CHUECOS-FONT" userId="7e57acaa-4bc6-4644-8edc-0ecdded28594" providerId="ADAL" clId="{9817B8E0-72E5-4A80-920F-95B62F123057}" dt="2021-02-05T13:10:46.443" v="3068" actId="47"/>
        <pc:sldMkLst>
          <pc:docMk/>
          <pc:sldMk cId="1019904241" sldId="723"/>
        </pc:sldMkLst>
      </pc:sldChg>
      <pc:sldChg chg="del">
        <pc:chgData name="christophe CHUECOS-FONT" userId="7e57acaa-4bc6-4644-8edc-0ecdded28594" providerId="ADAL" clId="{9817B8E0-72E5-4A80-920F-95B62F123057}" dt="2021-02-05T13:10:48.577" v="3069" actId="47"/>
        <pc:sldMkLst>
          <pc:docMk/>
          <pc:sldMk cId="3859586812" sldId="724"/>
        </pc:sldMkLst>
      </pc:sldChg>
      <pc:sldChg chg="del">
        <pc:chgData name="christophe CHUECOS-FONT" userId="7e57acaa-4bc6-4644-8edc-0ecdded28594" providerId="ADAL" clId="{9817B8E0-72E5-4A80-920F-95B62F123057}" dt="2021-02-05T13:10:50.167" v="3070" actId="47"/>
        <pc:sldMkLst>
          <pc:docMk/>
          <pc:sldMk cId="4064782458" sldId="740"/>
        </pc:sldMkLst>
      </pc:sldChg>
      <pc:sldChg chg="addSp delSp modSp mod ord">
        <pc:chgData name="christophe CHUECOS-FONT" userId="7e57acaa-4bc6-4644-8edc-0ecdded28594" providerId="ADAL" clId="{9817B8E0-72E5-4A80-920F-95B62F123057}" dt="2021-02-05T12:35:06.224" v="2306" actId="1076"/>
        <pc:sldMkLst>
          <pc:docMk/>
          <pc:sldMk cId="46848278" sldId="741"/>
        </pc:sldMkLst>
        <pc:spChg chg="del mod">
          <ac:chgData name="christophe CHUECOS-FONT" userId="7e57acaa-4bc6-4644-8edc-0ecdded28594" providerId="ADAL" clId="{9817B8E0-72E5-4A80-920F-95B62F123057}" dt="2021-02-05T12:34:55.051" v="2302" actId="21"/>
          <ac:spMkLst>
            <pc:docMk/>
            <pc:sldMk cId="46848278" sldId="741"/>
            <ac:spMk id="2" creationId="{00000000-0000-0000-0000-000000000000}"/>
          </ac:spMkLst>
        </pc:spChg>
        <pc:spChg chg="add del mod">
          <ac:chgData name="christophe CHUECOS-FONT" userId="7e57acaa-4bc6-4644-8edc-0ecdded28594" providerId="ADAL" clId="{9817B8E0-72E5-4A80-920F-95B62F123057}" dt="2021-02-05T12:33:13.403" v="2289" actId="21"/>
          <ac:spMkLst>
            <pc:docMk/>
            <pc:sldMk cId="46848278" sldId="741"/>
            <ac:spMk id="5" creationId="{5B6557BA-B6BE-4F08-B30D-BF9BCECBFC18}"/>
          </ac:spMkLst>
        </pc:spChg>
        <pc:spChg chg="mod">
          <ac:chgData name="christophe CHUECOS-FONT" userId="7e57acaa-4bc6-4644-8edc-0ecdded28594" providerId="ADAL" clId="{9817B8E0-72E5-4A80-920F-95B62F123057}" dt="2021-02-05T12:32:22.989" v="2284" actId="6549"/>
          <ac:spMkLst>
            <pc:docMk/>
            <pc:sldMk cId="46848278" sldId="741"/>
            <ac:spMk id="10" creationId="{2104DD9E-7F53-465D-8561-41BB61362ACA}"/>
          </ac:spMkLst>
        </pc:spChg>
        <pc:picChg chg="add del mod">
          <ac:chgData name="christophe CHUECOS-FONT" userId="7e57acaa-4bc6-4644-8edc-0ecdded28594" providerId="ADAL" clId="{9817B8E0-72E5-4A80-920F-95B62F123057}" dt="2021-02-05T12:33:13.403" v="2289" actId="21"/>
          <ac:picMkLst>
            <pc:docMk/>
            <pc:sldMk cId="46848278" sldId="741"/>
            <ac:picMk id="4" creationId="{A3E7A1CB-14EA-4CB4-8DE3-495A66246D5D}"/>
          </ac:picMkLst>
        </pc:picChg>
        <pc:picChg chg="add del mod">
          <ac:chgData name="christophe CHUECOS-FONT" userId="7e57acaa-4bc6-4644-8edc-0ecdded28594" providerId="ADAL" clId="{9817B8E0-72E5-4A80-920F-95B62F123057}" dt="2021-02-05T12:33:38.517" v="2297"/>
          <ac:picMkLst>
            <pc:docMk/>
            <pc:sldMk cId="46848278" sldId="741"/>
            <ac:picMk id="6" creationId="{AF672D10-65AB-44DE-875E-E0239EAB5D47}"/>
          </ac:picMkLst>
        </pc:picChg>
        <pc:picChg chg="add mod">
          <ac:chgData name="christophe CHUECOS-FONT" userId="7e57acaa-4bc6-4644-8edc-0ecdded28594" providerId="ADAL" clId="{9817B8E0-72E5-4A80-920F-95B62F123057}" dt="2021-02-05T12:35:06.224" v="2306" actId="1076"/>
          <ac:picMkLst>
            <pc:docMk/>
            <pc:sldMk cId="46848278" sldId="741"/>
            <ac:picMk id="3074" creationId="{5773E1FE-EFF0-45D9-823D-1B322AAF21E7}"/>
          </ac:picMkLst>
        </pc:picChg>
      </pc:sldChg>
      <pc:sldChg chg="modSp add del mod">
        <pc:chgData name="christophe CHUECOS-FONT" userId="7e57acaa-4bc6-4644-8edc-0ecdded28594" providerId="ADAL" clId="{9817B8E0-72E5-4A80-920F-95B62F123057}" dt="2021-02-05T12:37:06.970" v="2310" actId="47"/>
        <pc:sldMkLst>
          <pc:docMk/>
          <pc:sldMk cId="2973601308" sldId="742"/>
        </pc:sldMkLst>
        <pc:spChg chg="mod">
          <ac:chgData name="christophe CHUECOS-FONT" userId="7e57acaa-4bc6-4644-8edc-0ecdded28594" providerId="ADAL" clId="{9817B8E0-72E5-4A80-920F-95B62F123057}" dt="2021-02-05T12:16:35.900" v="1891" actId="6549"/>
          <ac:spMkLst>
            <pc:docMk/>
            <pc:sldMk cId="2973601308" sldId="742"/>
            <ac:spMk id="2" creationId="{02517F6E-26E9-44E8-815E-774552D95FD0}"/>
          </ac:spMkLst>
        </pc:spChg>
      </pc:sldChg>
      <pc:sldChg chg="del">
        <pc:chgData name="christophe CHUECOS-FONT" userId="7e57acaa-4bc6-4644-8edc-0ecdded28594" providerId="ADAL" clId="{9817B8E0-72E5-4A80-920F-95B62F123057}" dt="2021-02-05T13:10:55.352" v="3073" actId="47"/>
        <pc:sldMkLst>
          <pc:docMk/>
          <pc:sldMk cId="4265384868" sldId="744"/>
        </pc:sldMkLst>
      </pc:sldChg>
      <pc:sldChg chg="del">
        <pc:chgData name="christophe CHUECOS-FONT" userId="7e57acaa-4bc6-4644-8edc-0ecdded28594" providerId="ADAL" clId="{9817B8E0-72E5-4A80-920F-95B62F123057}" dt="2021-02-05T13:10:52.458" v="3071" actId="47"/>
        <pc:sldMkLst>
          <pc:docMk/>
          <pc:sldMk cId="2659999973" sldId="745"/>
        </pc:sldMkLst>
      </pc:sldChg>
      <pc:sldChg chg="addSp delSp modSp mod setBg">
        <pc:chgData name="christophe CHUECOS-FONT" userId="7e57acaa-4bc6-4644-8edc-0ecdded28594" providerId="ADAL" clId="{9817B8E0-72E5-4A80-920F-95B62F123057}" dt="2021-02-05T13:29:54.453" v="3222" actId="21"/>
        <pc:sldMkLst>
          <pc:docMk/>
          <pc:sldMk cId="862046135" sldId="746"/>
        </pc:sldMkLst>
        <pc:spChg chg="mod">
          <ac:chgData name="christophe CHUECOS-FONT" userId="7e57acaa-4bc6-4644-8edc-0ecdded28594" providerId="ADAL" clId="{9817B8E0-72E5-4A80-920F-95B62F123057}" dt="2021-02-05T13:29:03.569" v="3220" actId="26606"/>
          <ac:spMkLst>
            <pc:docMk/>
            <pc:sldMk cId="862046135" sldId="746"/>
            <ac:spMk id="2" creationId="{02517F6E-26E9-44E8-815E-774552D95FD0}"/>
          </ac:spMkLst>
        </pc:spChg>
        <pc:spChg chg="add del mod">
          <ac:chgData name="christophe CHUECOS-FONT" userId="7e57acaa-4bc6-4644-8edc-0ecdded28594" providerId="ADAL" clId="{9817B8E0-72E5-4A80-920F-95B62F123057}" dt="2021-02-05T13:29:54.453" v="3222" actId="21"/>
          <ac:spMkLst>
            <pc:docMk/>
            <pc:sldMk cId="862046135" sldId="746"/>
            <ac:spMk id="3" creationId="{7F1D0C51-9F0A-4F5A-B65C-5463940FD37F}"/>
          </ac:spMkLst>
        </pc:spChg>
        <pc:spChg chg="del">
          <ac:chgData name="christophe CHUECOS-FONT" userId="7e57acaa-4bc6-4644-8edc-0ecdded28594" providerId="ADAL" clId="{9817B8E0-72E5-4A80-920F-95B62F123057}" dt="2021-02-05T13:29:03.569" v="3220" actId="26606"/>
          <ac:spMkLst>
            <pc:docMk/>
            <pc:sldMk cId="862046135" sldId="746"/>
            <ac:spMk id="77" creationId="{E91DC736-0EF8-4F87-9146-EBF1D2EE4D3D}"/>
          </ac:spMkLst>
        </pc:spChg>
        <pc:spChg chg="del">
          <ac:chgData name="christophe CHUECOS-FONT" userId="7e57acaa-4bc6-4644-8edc-0ecdded28594" providerId="ADAL" clId="{9817B8E0-72E5-4A80-920F-95B62F123057}" dt="2021-02-05T13:29:03.569" v="3220" actId="26606"/>
          <ac:spMkLst>
            <pc:docMk/>
            <pc:sldMk cId="862046135" sldId="746"/>
            <ac:spMk id="79" creationId="{097CD68E-23E3-4007-8847-CD0944C4F7BE}"/>
          </ac:spMkLst>
        </pc:spChg>
        <pc:spChg chg="del">
          <ac:chgData name="christophe CHUECOS-FONT" userId="7e57acaa-4bc6-4644-8edc-0ecdded28594" providerId="ADAL" clId="{9817B8E0-72E5-4A80-920F-95B62F123057}" dt="2021-02-05T13:29:03.569" v="3220" actId="26606"/>
          <ac:spMkLst>
            <pc:docMk/>
            <pc:sldMk cId="862046135" sldId="746"/>
            <ac:spMk id="81" creationId="{AF2F604E-43BE-4DC3-B983-E071523364F8}"/>
          </ac:spMkLst>
        </pc:spChg>
        <pc:spChg chg="del">
          <ac:chgData name="christophe CHUECOS-FONT" userId="7e57acaa-4bc6-4644-8edc-0ecdded28594" providerId="ADAL" clId="{9817B8E0-72E5-4A80-920F-95B62F123057}" dt="2021-02-05T13:29:03.569" v="3220" actId="26606"/>
          <ac:spMkLst>
            <pc:docMk/>
            <pc:sldMk cId="862046135" sldId="746"/>
            <ac:spMk id="83" creationId="{08C9B587-E65E-4B52-B37C-ABEBB6E87928}"/>
          </ac:spMkLst>
        </pc:spChg>
        <pc:spChg chg="add">
          <ac:chgData name="christophe CHUECOS-FONT" userId="7e57acaa-4bc6-4644-8edc-0ecdded28594" providerId="ADAL" clId="{9817B8E0-72E5-4A80-920F-95B62F123057}" dt="2021-02-05T13:29:03.569" v="3220" actId="26606"/>
          <ac:spMkLst>
            <pc:docMk/>
            <pc:sldMk cId="862046135" sldId="746"/>
            <ac:spMk id="88" creationId="{16C5FA50-8D52-4617-AF91-5C7B1C8352F1}"/>
          </ac:spMkLst>
        </pc:spChg>
        <pc:spChg chg="add">
          <ac:chgData name="christophe CHUECOS-FONT" userId="7e57acaa-4bc6-4644-8edc-0ecdded28594" providerId="ADAL" clId="{9817B8E0-72E5-4A80-920F-95B62F123057}" dt="2021-02-05T13:29:03.569" v="3220" actId="26606"/>
          <ac:spMkLst>
            <pc:docMk/>
            <pc:sldMk cId="862046135" sldId="746"/>
            <ac:spMk id="90" creationId="{E223798C-12AD-4B0C-A50C-D676347D67CF}"/>
          </ac:spMkLst>
        </pc:spChg>
        <pc:picChg chg="mod ord">
          <ac:chgData name="christophe CHUECOS-FONT" userId="7e57acaa-4bc6-4644-8edc-0ecdded28594" providerId="ADAL" clId="{9817B8E0-72E5-4A80-920F-95B62F123057}" dt="2021-02-05T13:29:33.212" v="3221" actId="14826"/>
          <ac:picMkLst>
            <pc:docMk/>
            <pc:sldMk cId="862046135" sldId="746"/>
            <ac:picMk id="36" creationId="{FC9EF324-339C-4E46-9508-BF0C86AAC793}"/>
          </ac:picMkLst>
        </pc:picChg>
      </pc:sldChg>
      <pc:sldChg chg="del">
        <pc:chgData name="christophe CHUECOS-FONT" userId="7e57acaa-4bc6-4644-8edc-0ecdded28594" providerId="ADAL" clId="{9817B8E0-72E5-4A80-920F-95B62F123057}" dt="2021-02-05T13:10:54.105" v="3072" actId="47"/>
        <pc:sldMkLst>
          <pc:docMk/>
          <pc:sldMk cId="1888965905" sldId="747"/>
        </pc:sldMkLst>
      </pc:sldChg>
      <pc:sldChg chg="modSp add mod ord">
        <pc:chgData name="christophe CHUECOS-FONT" userId="7e57acaa-4bc6-4644-8edc-0ecdded28594" providerId="ADAL" clId="{9817B8E0-72E5-4A80-920F-95B62F123057}" dt="2021-02-05T12:31:01.980" v="2237" actId="20577"/>
        <pc:sldMkLst>
          <pc:docMk/>
          <pc:sldMk cId="207037776" sldId="748"/>
        </pc:sldMkLst>
        <pc:graphicFrameChg chg="mod modGraphic">
          <ac:chgData name="christophe CHUECOS-FONT" userId="7e57acaa-4bc6-4644-8edc-0ecdded28594" providerId="ADAL" clId="{9817B8E0-72E5-4A80-920F-95B62F123057}" dt="2021-02-05T12:31:01.980" v="2237" actId="20577"/>
          <ac:graphicFrameMkLst>
            <pc:docMk/>
            <pc:sldMk cId="207037776" sldId="748"/>
            <ac:graphicFrameMk id="6" creationId="{4A6E514C-D3C4-4B29-BB5C-DB98C7CA5742}"/>
          </ac:graphicFrameMkLst>
        </pc:graphicFrameChg>
      </pc:sldChg>
      <pc:sldChg chg="addSp delSp modSp add del mod ord">
        <pc:chgData name="christophe CHUECOS-FONT" userId="7e57acaa-4bc6-4644-8edc-0ecdded28594" providerId="ADAL" clId="{9817B8E0-72E5-4A80-920F-95B62F123057}" dt="2021-02-05T11:48:37.765" v="1181" actId="47"/>
        <pc:sldMkLst>
          <pc:docMk/>
          <pc:sldMk cId="3929803507" sldId="748"/>
        </pc:sldMkLst>
        <pc:spChg chg="del mod">
          <ac:chgData name="christophe CHUECOS-FONT" userId="7e57acaa-4bc6-4644-8edc-0ecdded28594" providerId="ADAL" clId="{9817B8E0-72E5-4A80-920F-95B62F123057}" dt="2021-02-05T11:42:53.645" v="969" actId="21"/>
          <ac:spMkLst>
            <pc:docMk/>
            <pc:sldMk cId="3929803507" sldId="748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9817B8E0-72E5-4A80-920F-95B62F123057}" dt="2021-02-05T11:42:31.987" v="957" actId="1076"/>
          <ac:spMkLst>
            <pc:docMk/>
            <pc:sldMk cId="3929803507" sldId="748"/>
            <ac:spMk id="3" creationId="{79900381-058A-49D1-91B1-63D7DD95F910}"/>
          </ac:spMkLst>
        </pc:spChg>
        <pc:spChg chg="add mod">
          <ac:chgData name="christophe CHUECOS-FONT" userId="7e57acaa-4bc6-4644-8edc-0ecdded28594" providerId="ADAL" clId="{9817B8E0-72E5-4A80-920F-95B62F123057}" dt="2021-02-05T11:42:53.645" v="969" actId="21"/>
          <ac:spMkLst>
            <pc:docMk/>
            <pc:sldMk cId="3929803507" sldId="748"/>
            <ac:spMk id="6" creationId="{EE6428D0-F810-4A90-96AA-3E6D994E530E}"/>
          </ac:spMkLst>
        </pc:spChg>
      </pc:sldChg>
      <pc:sldChg chg="addSp delSp modSp add mod">
        <pc:chgData name="christophe CHUECOS-FONT" userId="7e57acaa-4bc6-4644-8edc-0ecdded28594" providerId="ADAL" clId="{9817B8E0-72E5-4A80-920F-95B62F123057}" dt="2021-02-05T12:38:34.546" v="2378" actId="313"/>
        <pc:sldMkLst>
          <pc:docMk/>
          <pc:sldMk cId="4173125488" sldId="749"/>
        </pc:sldMkLst>
        <pc:spChg chg="del mod">
          <ac:chgData name="christophe CHUECOS-FONT" userId="7e57acaa-4bc6-4644-8edc-0ecdded28594" providerId="ADAL" clId="{9817B8E0-72E5-4A80-920F-95B62F123057}" dt="2021-02-05T12:13:33.137" v="1833" actId="21"/>
          <ac:spMkLst>
            <pc:docMk/>
            <pc:sldMk cId="4173125488" sldId="749"/>
            <ac:spMk id="2" creationId="{02517F6E-26E9-44E8-815E-774552D95FD0}"/>
          </ac:spMkLst>
        </pc:spChg>
        <pc:spChg chg="add del mod">
          <ac:chgData name="christophe CHUECOS-FONT" userId="7e57acaa-4bc6-4644-8edc-0ecdded28594" providerId="ADAL" clId="{9817B8E0-72E5-4A80-920F-95B62F123057}" dt="2021-02-05T12:15:11.445" v="1870" actId="478"/>
          <ac:spMkLst>
            <pc:docMk/>
            <pc:sldMk cId="4173125488" sldId="749"/>
            <ac:spMk id="6" creationId="{3E8E1C35-D244-460D-B767-E880128C46A4}"/>
          </ac:spMkLst>
        </pc:spChg>
        <pc:spChg chg="add del mod">
          <ac:chgData name="christophe CHUECOS-FONT" userId="7e57acaa-4bc6-4644-8edc-0ecdded28594" providerId="ADAL" clId="{9817B8E0-72E5-4A80-920F-95B62F123057}" dt="2021-02-05T12:15:28.538" v="1879" actId="21"/>
          <ac:spMkLst>
            <pc:docMk/>
            <pc:sldMk cId="4173125488" sldId="749"/>
            <ac:spMk id="13" creationId="{17EB41A5-083A-4B89-BC8E-9FC8320DB0C0}"/>
          </ac:spMkLst>
        </pc:spChg>
        <pc:graphicFrameChg chg="add mod modGraphic">
          <ac:chgData name="christophe CHUECOS-FONT" userId="7e57acaa-4bc6-4644-8edc-0ecdded28594" providerId="ADAL" clId="{9817B8E0-72E5-4A80-920F-95B62F123057}" dt="2021-02-05T12:38:34.546" v="2378" actId="313"/>
          <ac:graphicFrameMkLst>
            <pc:docMk/>
            <pc:sldMk cId="4173125488" sldId="749"/>
            <ac:graphicFrameMk id="11" creationId="{BE7017E8-72FF-4D63-A4AE-8C9FCD2F6E61}"/>
          </ac:graphicFrameMkLst>
        </pc:graphicFrameChg>
      </pc:sldChg>
      <pc:sldChg chg="addSp delSp modSp add mod ord">
        <pc:chgData name="christophe CHUECOS-FONT" userId="7e57acaa-4bc6-4644-8edc-0ecdded28594" providerId="ADAL" clId="{9817B8E0-72E5-4A80-920F-95B62F123057}" dt="2021-02-05T12:25:23.337" v="2145" actId="2711"/>
        <pc:sldMkLst>
          <pc:docMk/>
          <pc:sldMk cId="1331932978" sldId="750"/>
        </pc:sldMkLst>
        <pc:spChg chg="del">
          <ac:chgData name="christophe CHUECOS-FONT" userId="7e57acaa-4bc6-4644-8edc-0ecdded28594" providerId="ADAL" clId="{9817B8E0-72E5-4A80-920F-95B62F123057}" dt="2021-02-05T12:03:37.767" v="1512" actId="21"/>
          <ac:spMkLst>
            <pc:docMk/>
            <pc:sldMk cId="1331932978" sldId="750"/>
            <ac:spMk id="2" creationId="{02517F6E-26E9-44E8-815E-774552D95FD0}"/>
          </ac:spMkLst>
        </pc:spChg>
        <pc:spChg chg="add del mod">
          <ac:chgData name="christophe CHUECOS-FONT" userId="7e57acaa-4bc6-4644-8edc-0ecdded28594" providerId="ADAL" clId="{9817B8E0-72E5-4A80-920F-95B62F123057}" dt="2021-02-05T12:13:01.386" v="1820" actId="21"/>
          <ac:spMkLst>
            <pc:docMk/>
            <pc:sldMk cId="1331932978" sldId="750"/>
            <ac:spMk id="6" creationId="{889463DC-170E-4169-8EF2-A0118E045062}"/>
          </ac:spMkLst>
        </pc:spChg>
        <pc:graphicFrameChg chg="add mod modGraphic">
          <ac:chgData name="christophe CHUECOS-FONT" userId="7e57acaa-4bc6-4644-8edc-0ecdded28594" providerId="ADAL" clId="{9817B8E0-72E5-4A80-920F-95B62F123057}" dt="2021-02-05T12:25:23.337" v="2145" actId="2711"/>
          <ac:graphicFrameMkLst>
            <pc:docMk/>
            <pc:sldMk cId="1331932978" sldId="750"/>
            <ac:graphicFrameMk id="11" creationId="{E94DFFC9-EC83-475B-9CC4-E7F2C5E65D08}"/>
          </ac:graphicFrameMkLst>
        </pc:graphicFrameChg>
      </pc:sldChg>
      <pc:sldChg chg="addSp delSp modSp add mod setBg">
        <pc:chgData name="christophe CHUECOS-FONT" userId="7e57acaa-4bc6-4644-8edc-0ecdded28594" providerId="ADAL" clId="{9817B8E0-72E5-4A80-920F-95B62F123057}" dt="2021-02-05T12:26:47.584" v="2165" actId="255"/>
        <pc:sldMkLst>
          <pc:docMk/>
          <pc:sldMk cId="199886149" sldId="751"/>
        </pc:sldMkLst>
        <pc:spChg chg="mod">
          <ac:chgData name="christophe CHUECOS-FONT" userId="7e57acaa-4bc6-4644-8edc-0ecdded28594" providerId="ADAL" clId="{9817B8E0-72E5-4A80-920F-95B62F123057}" dt="2021-02-05T12:17:24.560" v="1926" actId="6549"/>
          <ac:spMkLst>
            <pc:docMk/>
            <pc:sldMk cId="199886149" sldId="751"/>
            <ac:spMk id="2" creationId="{02517F6E-26E9-44E8-815E-774552D95FD0}"/>
          </ac:spMkLst>
        </pc:spChg>
        <pc:spChg chg="add del mod">
          <ac:chgData name="christophe CHUECOS-FONT" userId="7e57acaa-4bc6-4644-8edc-0ecdded28594" providerId="ADAL" clId="{9817B8E0-72E5-4A80-920F-95B62F123057}" dt="2021-02-05T12:18:12.199" v="1930" actId="21"/>
          <ac:spMkLst>
            <pc:docMk/>
            <pc:sldMk cId="199886149" sldId="751"/>
            <ac:spMk id="3" creationId="{6765F43B-1830-4B94-A641-F503578399A0}"/>
          </ac:spMkLst>
        </pc:spChg>
        <pc:spChg chg="add mod">
          <ac:chgData name="christophe CHUECOS-FONT" userId="7e57acaa-4bc6-4644-8edc-0ecdded28594" providerId="ADAL" clId="{9817B8E0-72E5-4A80-920F-95B62F123057}" dt="2021-02-05T12:26:47.584" v="2165" actId="255"/>
          <ac:spMkLst>
            <pc:docMk/>
            <pc:sldMk cId="199886149" sldId="751"/>
            <ac:spMk id="5" creationId="{DFEA2082-E7DE-4453-8158-54F380B94285}"/>
          </ac:spMkLst>
        </pc:spChg>
        <pc:spChg chg="del">
          <ac:chgData name="christophe CHUECOS-FONT" userId="7e57acaa-4bc6-4644-8edc-0ecdded28594" providerId="ADAL" clId="{9817B8E0-72E5-4A80-920F-95B62F123057}" dt="2021-02-05T12:17:17.414" v="1911" actId="26606"/>
          <ac:spMkLst>
            <pc:docMk/>
            <pc:sldMk cId="199886149" sldId="751"/>
            <ac:spMk id="51" creationId="{A3BAF07C-C39E-42EB-BB22-8D46691D9735}"/>
          </ac:spMkLst>
        </pc:spChg>
        <pc:spChg chg="add">
          <ac:chgData name="christophe CHUECOS-FONT" userId="7e57acaa-4bc6-4644-8edc-0ecdded28594" providerId="ADAL" clId="{9817B8E0-72E5-4A80-920F-95B62F123057}" dt="2021-02-05T12:17:17.414" v="1911" actId="26606"/>
          <ac:spMkLst>
            <pc:docMk/>
            <pc:sldMk cId="199886149" sldId="751"/>
            <ac:spMk id="77" creationId="{8537B233-9CDD-4A90-AABB-A8963DEE4FBC}"/>
          </ac:spMkLst>
        </pc:spChg>
        <pc:grpChg chg="del">
          <ac:chgData name="christophe CHUECOS-FONT" userId="7e57acaa-4bc6-4644-8edc-0ecdded28594" providerId="ADAL" clId="{9817B8E0-72E5-4A80-920F-95B62F123057}" dt="2021-02-05T12:17:17.414" v="1911" actId="26606"/>
          <ac:grpSpMkLst>
            <pc:docMk/>
            <pc:sldMk cId="199886149" sldId="751"/>
            <ac:grpSpMk id="53" creationId="{D8E9CF54-0466-4261-9E62-0249E60E1886}"/>
          </ac:grpSpMkLst>
        </pc:grpChg>
        <pc:picChg chg="mod">
          <ac:chgData name="christophe CHUECOS-FONT" userId="7e57acaa-4bc6-4644-8edc-0ecdded28594" providerId="ADAL" clId="{9817B8E0-72E5-4A80-920F-95B62F123057}" dt="2021-02-05T12:18:05.674" v="1928" actId="14100"/>
          <ac:picMkLst>
            <pc:docMk/>
            <pc:sldMk cId="199886149" sldId="751"/>
            <ac:picMk id="36" creationId="{FC9EF324-339C-4E46-9508-BF0C86AAC793}"/>
          </ac:picMkLst>
        </pc:picChg>
        <pc:cxnChg chg="add">
          <ac:chgData name="christophe CHUECOS-FONT" userId="7e57acaa-4bc6-4644-8edc-0ecdded28594" providerId="ADAL" clId="{9817B8E0-72E5-4A80-920F-95B62F123057}" dt="2021-02-05T12:17:17.414" v="1911" actId="26606"/>
          <ac:cxnSpMkLst>
            <pc:docMk/>
            <pc:sldMk cId="199886149" sldId="751"/>
            <ac:cxnSpMk id="79" creationId="{040575EE-C594-4566-BC00-663004E52AB5}"/>
          </ac:cxnSpMkLst>
        </pc:cxnChg>
      </pc:sldChg>
      <pc:sldChg chg="modSp add mod ord">
        <pc:chgData name="christophe CHUECOS-FONT" userId="7e57acaa-4bc6-4644-8edc-0ecdded28594" providerId="ADAL" clId="{9817B8E0-72E5-4A80-920F-95B62F123057}" dt="2021-02-05T12:27:28.856" v="2174" actId="27636"/>
        <pc:sldMkLst>
          <pc:docMk/>
          <pc:sldMk cId="1555533496" sldId="752"/>
        </pc:sldMkLst>
        <pc:spChg chg="mod">
          <ac:chgData name="christophe CHUECOS-FONT" userId="7e57acaa-4bc6-4644-8edc-0ecdded28594" providerId="ADAL" clId="{9817B8E0-72E5-4A80-920F-95B62F123057}" dt="2021-02-05T12:27:28.856" v="2174" actId="27636"/>
          <ac:spMkLst>
            <pc:docMk/>
            <pc:sldMk cId="1555533496" sldId="752"/>
            <ac:spMk id="2" creationId="{02517F6E-26E9-44E8-815E-774552D95FD0}"/>
          </ac:spMkLst>
        </pc:spChg>
      </pc:sldChg>
      <pc:sldChg chg="addSp delSp modSp add mod ord">
        <pc:chgData name="christophe CHUECOS-FONT" userId="7e57acaa-4bc6-4644-8edc-0ecdded28594" providerId="ADAL" clId="{9817B8E0-72E5-4A80-920F-95B62F123057}" dt="2021-02-05T12:22:08.279" v="2120" actId="26606"/>
        <pc:sldMkLst>
          <pc:docMk/>
          <pc:sldMk cId="1388402899" sldId="753"/>
        </pc:sldMkLst>
        <pc:spChg chg="mod">
          <ac:chgData name="christophe CHUECOS-FONT" userId="7e57acaa-4bc6-4644-8edc-0ecdded28594" providerId="ADAL" clId="{9817B8E0-72E5-4A80-920F-95B62F123057}" dt="2021-02-05T12:21:04.326" v="2045" actId="20577"/>
          <ac:spMkLst>
            <pc:docMk/>
            <pc:sldMk cId="1388402899" sldId="753"/>
            <ac:spMk id="2" creationId="{00000000-0000-0000-0000-000000000000}"/>
          </ac:spMkLst>
        </pc:spChg>
        <pc:spChg chg="del mod">
          <ac:chgData name="christophe CHUECOS-FONT" userId="7e57acaa-4bc6-4644-8edc-0ecdded28594" providerId="ADAL" clId="{9817B8E0-72E5-4A80-920F-95B62F123057}" dt="2021-02-05T12:22:08.279" v="2120" actId="26606"/>
          <ac:spMkLst>
            <pc:docMk/>
            <pc:sldMk cId="1388402899" sldId="753"/>
            <ac:spMk id="10" creationId="{2104DD9E-7F53-465D-8561-41BB61362ACA}"/>
          </ac:spMkLst>
        </pc:spChg>
        <pc:graphicFrameChg chg="add">
          <ac:chgData name="christophe CHUECOS-FONT" userId="7e57acaa-4bc6-4644-8edc-0ecdded28594" providerId="ADAL" clId="{9817B8E0-72E5-4A80-920F-95B62F123057}" dt="2021-02-05T12:22:08.279" v="2120" actId="26606"/>
          <ac:graphicFrameMkLst>
            <pc:docMk/>
            <pc:sldMk cId="1388402899" sldId="753"/>
            <ac:graphicFrameMk id="18" creationId="{617CF2FB-A56B-4819-897B-4183F10C8A27}"/>
          </ac:graphicFrameMkLst>
        </pc:graphicFrameChg>
      </pc:sldChg>
      <pc:sldChg chg="addSp delSp modSp add mod">
        <pc:chgData name="christophe CHUECOS-FONT" userId="7e57acaa-4bc6-4644-8edc-0ecdded28594" providerId="ADAL" clId="{9817B8E0-72E5-4A80-920F-95B62F123057}" dt="2021-02-05T12:41:09.210" v="2390" actId="115"/>
        <pc:sldMkLst>
          <pc:docMk/>
          <pc:sldMk cId="1279459092" sldId="754"/>
        </pc:sldMkLst>
        <pc:spChg chg="add del">
          <ac:chgData name="christophe CHUECOS-FONT" userId="7e57acaa-4bc6-4644-8edc-0ecdded28594" providerId="ADAL" clId="{9817B8E0-72E5-4A80-920F-95B62F123057}" dt="2021-02-05T12:22:36.638" v="2122"/>
          <ac:spMkLst>
            <pc:docMk/>
            <pc:sldMk cId="1279459092" sldId="754"/>
            <ac:spMk id="3" creationId="{875CD4EC-9519-4ACA-8B3C-8CF29CF245A4}"/>
          </ac:spMkLst>
        </pc:spChg>
        <pc:spChg chg="add del">
          <ac:chgData name="christophe CHUECOS-FONT" userId="7e57acaa-4bc6-4644-8edc-0ecdded28594" providerId="ADAL" clId="{9817B8E0-72E5-4A80-920F-95B62F123057}" dt="2021-02-05T12:22:46.188" v="2124" actId="21"/>
          <ac:spMkLst>
            <pc:docMk/>
            <pc:sldMk cId="1279459092" sldId="754"/>
            <ac:spMk id="4" creationId="{74CCE3A4-CAA8-4A88-A7CD-E43D136F6965}"/>
          </ac:spMkLst>
        </pc:spChg>
        <pc:spChg chg="mod">
          <ac:chgData name="christophe CHUECOS-FONT" userId="7e57acaa-4bc6-4644-8edc-0ecdded28594" providerId="ADAL" clId="{9817B8E0-72E5-4A80-920F-95B62F123057}" dt="2021-02-05T12:41:09.210" v="2390" actId="115"/>
          <ac:spMkLst>
            <pc:docMk/>
            <pc:sldMk cId="1279459092" sldId="754"/>
            <ac:spMk id="10" creationId="{2104DD9E-7F53-465D-8561-41BB61362ACA}"/>
          </ac:spMkLst>
        </pc:spChg>
      </pc:sldChg>
      <pc:sldChg chg="add">
        <pc:chgData name="christophe CHUECOS-FONT" userId="7e57acaa-4bc6-4644-8edc-0ecdded28594" providerId="ADAL" clId="{9817B8E0-72E5-4A80-920F-95B62F123057}" dt="2021-02-05T12:26:05.311" v="2149" actId="2890"/>
        <pc:sldMkLst>
          <pc:docMk/>
          <pc:sldMk cId="3967480954" sldId="755"/>
        </pc:sldMkLst>
      </pc:sldChg>
      <pc:sldChg chg="add del">
        <pc:chgData name="christophe CHUECOS-FONT" userId="7e57acaa-4bc6-4644-8edc-0ecdded28594" providerId="ADAL" clId="{9817B8E0-72E5-4A80-920F-95B62F123057}" dt="2021-02-05T12:31:50.707" v="2243" actId="47"/>
        <pc:sldMkLst>
          <pc:docMk/>
          <pc:sldMk cId="4274374807" sldId="756"/>
        </pc:sldMkLst>
      </pc:sldChg>
      <pc:sldChg chg="modSp add ord">
        <pc:chgData name="christophe CHUECOS-FONT" userId="7e57acaa-4bc6-4644-8edc-0ecdded28594" providerId="ADAL" clId="{9817B8E0-72E5-4A80-920F-95B62F123057}" dt="2021-02-05T12:35:22.637" v="2307"/>
        <pc:sldMkLst>
          <pc:docMk/>
          <pc:sldMk cId="18592871" sldId="757"/>
        </pc:sldMkLst>
        <pc:graphicFrameChg chg="mod">
          <ac:chgData name="christophe CHUECOS-FONT" userId="7e57acaa-4bc6-4644-8edc-0ecdded28594" providerId="ADAL" clId="{9817B8E0-72E5-4A80-920F-95B62F123057}" dt="2021-02-05T12:35:22.637" v="2307"/>
          <ac:graphicFrameMkLst>
            <pc:docMk/>
            <pc:sldMk cId="18592871" sldId="757"/>
            <ac:graphicFrameMk id="6" creationId="{4A6E514C-D3C4-4B29-BB5C-DB98C7CA5742}"/>
          </ac:graphicFrameMkLst>
        </pc:graphicFrameChg>
      </pc:sldChg>
      <pc:sldChg chg="del">
        <pc:chgData name="christophe CHUECOS-FONT" userId="7e57acaa-4bc6-4644-8edc-0ecdded28594" providerId="ADAL" clId="{9817B8E0-72E5-4A80-920F-95B62F123057}" dt="2021-02-05T12:49:04.447" v="2727" actId="47"/>
        <pc:sldMkLst>
          <pc:docMk/>
          <pc:sldMk cId="411860545" sldId="758"/>
        </pc:sldMkLst>
      </pc:sldChg>
      <pc:sldChg chg="modSp add mod ord">
        <pc:chgData name="christophe CHUECOS-FONT" userId="7e57acaa-4bc6-4644-8edc-0ecdded28594" providerId="ADAL" clId="{9817B8E0-72E5-4A80-920F-95B62F123057}" dt="2021-02-05T12:49:53.037" v="2755" actId="122"/>
        <pc:sldMkLst>
          <pc:docMk/>
          <pc:sldMk cId="3419805560" sldId="759"/>
        </pc:sldMkLst>
        <pc:spChg chg="mod">
          <ac:chgData name="christophe CHUECOS-FONT" userId="7e57acaa-4bc6-4644-8edc-0ecdded28594" providerId="ADAL" clId="{9817B8E0-72E5-4A80-920F-95B62F123057}" dt="2021-02-05T12:49:53.037" v="2755" actId="122"/>
          <ac:spMkLst>
            <pc:docMk/>
            <pc:sldMk cId="3419805560" sldId="759"/>
            <ac:spMk id="2" creationId="{02517F6E-26E9-44E8-815E-774552D95FD0}"/>
          </ac:spMkLst>
        </pc:spChg>
      </pc:sldChg>
      <pc:sldChg chg="modSp add mod ord">
        <pc:chgData name="christophe CHUECOS-FONT" userId="7e57acaa-4bc6-4644-8edc-0ecdded28594" providerId="ADAL" clId="{9817B8E0-72E5-4A80-920F-95B62F123057}" dt="2021-02-05T12:49:34.742" v="2752" actId="20577"/>
        <pc:sldMkLst>
          <pc:docMk/>
          <pc:sldMk cId="3112461652" sldId="760"/>
        </pc:sldMkLst>
        <pc:spChg chg="mod">
          <ac:chgData name="christophe CHUECOS-FONT" userId="7e57acaa-4bc6-4644-8edc-0ecdded28594" providerId="ADAL" clId="{9817B8E0-72E5-4A80-920F-95B62F123057}" dt="2021-02-05T12:49:34.742" v="2752" actId="20577"/>
          <ac:spMkLst>
            <pc:docMk/>
            <pc:sldMk cId="3112461652" sldId="760"/>
            <ac:spMk id="2" creationId="{02517F6E-26E9-44E8-815E-774552D95FD0}"/>
          </ac:spMkLst>
        </pc:spChg>
      </pc:sldChg>
      <pc:sldChg chg="modSp add mod">
        <pc:chgData name="christophe CHUECOS-FONT" userId="7e57acaa-4bc6-4644-8edc-0ecdded28594" providerId="ADAL" clId="{9817B8E0-72E5-4A80-920F-95B62F123057}" dt="2021-02-05T13:07:16.399" v="3042" actId="1076"/>
        <pc:sldMkLst>
          <pc:docMk/>
          <pc:sldMk cId="212327455" sldId="761"/>
        </pc:sldMkLst>
        <pc:spChg chg="mod">
          <ac:chgData name="christophe CHUECOS-FONT" userId="7e57acaa-4bc6-4644-8edc-0ecdded28594" providerId="ADAL" clId="{9817B8E0-72E5-4A80-920F-95B62F123057}" dt="2021-02-05T13:07:13.807" v="3041" actId="1076"/>
          <ac:spMkLst>
            <pc:docMk/>
            <pc:sldMk cId="212327455" sldId="761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9817B8E0-72E5-4A80-920F-95B62F123057}" dt="2021-02-05T13:07:16.399" v="3042" actId="1076"/>
          <ac:spMkLst>
            <pc:docMk/>
            <pc:sldMk cId="212327455" sldId="761"/>
            <ac:spMk id="10" creationId="{2104DD9E-7F53-465D-8561-41BB61362ACA}"/>
          </ac:spMkLst>
        </pc:spChg>
      </pc:sldChg>
      <pc:sldChg chg="modSp add mod">
        <pc:chgData name="christophe CHUECOS-FONT" userId="7e57acaa-4bc6-4644-8edc-0ecdded28594" providerId="ADAL" clId="{9817B8E0-72E5-4A80-920F-95B62F123057}" dt="2021-02-05T13:07:28.880" v="3045" actId="20577"/>
        <pc:sldMkLst>
          <pc:docMk/>
          <pc:sldMk cId="2127276154" sldId="762"/>
        </pc:sldMkLst>
        <pc:spChg chg="mod">
          <ac:chgData name="christophe CHUECOS-FONT" userId="7e57acaa-4bc6-4644-8edc-0ecdded28594" providerId="ADAL" clId="{9817B8E0-72E5-4A80-920F-95B62F123057}" dt="2021-02-05T12:54:02.930" v="2817" actId="20577"/>
          <ac:spMkLst>
            <pc:docMk/>
            <pc:sldMk cId="2127276154" sldId="762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9817B8E0-72E5-4A80-920F-95B62F123057}" dt="2021-02-05T13:07:28.880" v="3045" actId="20577"/>
          <ac:spMkLst>
            <pc:docMk/>
            <pc:sldMk cId="2127276154" sldId="762"/>
            <ac:spMk id="10" creationId="{2104DD9E-7F53-465D-8561-41BB61362ACA}"/>
          </ac:spMkLst>
        </pc:spChg>
      </pc:sldChg>
      <pc:sldChg chg="delSp modSp add mod addCm delCm">
        <pc:chgData name="christophe CHUECOS-FONT" userId="7e57acaa-4bc6-4644-8edc-0ecdded28594" providerId="ADAL" clId="{9817B8E0-72E5-4A80-920F-95B62F123057}" dt="2021-02-05T13:08:14.558" v="3052" actId="20577"/>
        <pc:sldMkLst>
          <pc:docMk/>
          <pc:sldMk cId="4144782788" sldId="763"/>
        </pc:sldMkLst>
        <pc:spChg chg="mod">
          <ac:chgData name="christophe CHUECOS-FONT" userId="7e57acaa-4bc6-4644-8edc-0ecdded28594" providerId="ADAL" clId="{9817B8E0-72E5-4A80-920F-95B62F123057}" dt="2021-02-05T13:08:01.028" v="3048" actId="1076"/>
          <ac:spMkLst>
            <pc:docMk/>
            <pc:sldMk cId="4144782788" sldId="763"/>
            <ac:spMk id="2" creationId="{00000000-0000-0000-0000-000000000000}"/>
          </ac:spMkLst>
        </pc:spChg>
        <pc:spChg chg="del">
          <ac:chgData name="christophe CHUECOS-FONT" userId="7e57acaa-4bc6-4644-8edc-0ecdded28594" providerId="ADAL" clId="{9817B8E0-72E5-4A80-920F-95B62F123057}" dt="2021-02-05T12:55:12.116" v="2849" actId="21"/>
          <ac:spMkLst>
            <pc:docMk/>
            <pc:sldMk cId="4144782788" sldId="763"/>
            <ac:spMk id="4" creationId="{B907A768-CC25-4A4B-8C93-DA72B4C4D5E3}"/>
          </ac:spMkLst>
        </pc:spChg>
        <pc:spChg chg="mod">
          <ac:chgData name="christophe CHUECOS-FONT" userId="7e57acaa-4bc6-4644-8edc-0ecdded28594" providerId="ADAL" clId="{9817B8E0-72E5-4A80-920F-95B62F123057}" dt="2021-02-05T13:08:14.558" v="3052" actId="20577"/>
          <ac:spMkLst>
            <pc:docMk/>
            <pc:sldMk cId="4144782788" sldId="763"/>
            <ac:spMk id="10" creationId="{2104DD9E-7F53-465D-8561-41BB61362ACA}"/>
          </ac:spMkLst>
        </pc:spChg>
      </pc:sldChg>
      <pc:sldChg chg="modSp add mod">
        <pc:chgData name="christophe CHUECOS-FONT" userId="7e57acaa-4bc6-4644-8edc-0ecdded28594" providerId="ADAL" clId="{9817B8E0-72E5-4A80-920F-95B62F123057}" dt="2021-02-05T13:08:27.102" v="3054" actId="255"/>
        <pc:sldMkLst>
          <pc:docMk/>
          <pc:sldMk cId="3860019962" sldId="764"/>
        </pc:sldMkLst>
        <pc:spChg chg="mod">
          <ac:chgData name="christophe CHUECOS-FONT" userId="7e57acaa-4bc6-4644-8edc-0ecdded28594" providerId="ADAL" clId="{9817B8E0-72E5-4A80-920F-95B62F123057}" dt="2021-02-05T13:05:39.654" v="3027" actId="20577"/>
          <ac:spMkLst>
            <pc:docMk/>
            <pc:sldMk cId="3860019962" sldId="764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9817B8E0-72E5-4A80-920F-95B62F123057}" dt="2021-02-05T13:08:27.102" v="3054" actId="255"/>
          <ac:spMkLst>
            <pc:docMk/>
            <pc:sldMk cId="3860019962" sldId="764"/>
            <ac:spMk id="10" creationId="{2104DD9E-7F53-465D-8561-41BB61362ACA}"/>
          </ac:spMkLst>
        </pc:spChg>
      </pc:sldChg>
      <pc:sldChg chg="modSp add mod">
        <pc:chgData name="christophe CHUECOS-FONT" userId="7e57acaa-4bc6-4644-8edc-0ecdded28594" providerId="ADAL" clId="{9817B8E0-72E5-4A80-920F-95B62F123057}" dt="2021-02-05T13:08:45.211" v="3056" actId="2711"/>
        <pc:sldMkLst>
          <pc:docMk/>
          <pc:sldMk cId="2787990808" sldId="765"/>
        </pc:sldMkLst>
        <pc:spChg chg="mod">
          <ac:chgData name="christophe CHUECOS-FONT" userId="7e57acaa-4bc6-4644-8edc-0ecdded28594" providerId="ADAL" clId="{9817B8E0-72E5-4A80-920F-95B62F123057}" dt="2021-02-05T13:05:14.056" v="2977" actId="6549"/>
          <ac:spMkLst>
            <pc:docMk/>
            <pc:sldMk cId="2787990808" sldId="765"/>
            <ac:spMk id="2" creationId="{00000000-0000-0000-0000-000000000000}"/>
          </ac:spMkLst>
        </pc:spChg>
        <pc:spChg chg="mod">
          <ac:chgData name="christophe CHUECOS-FONT" userId="7e57acaa-4bc6-4644-8edc-0ecdded28594" providerId="ADAL" clId="{9817B8E0-72E5-4A80-920F-95B62F123057}" dt="2021-02-05T13:08:45.211" v="3056" actId="2711"/>
          <ac:spMkLst>
            <pc:docMk/>
            <pc:sldMk cId="2787990808" sldId="765"/>
            <ac:spMk id="10" creationId="{2104DD9E-7F53-465D-8561-41BB61362ACA}"/>
          </ac:spMkLst>
        </pc:spChg>
      </pc:sldChg>
      <pc:sldChg chg="modSp add mod">
        <pc:chgData name="christophe CHUECOS-FONT" userId="7e57acaa-4bc6-4644-8edc-0ecdded28594" providerId="ADAL" clId="{9817B8E0-72E5-4A80-920F-95B62F123057}" dt="2021-02-05T13:08:56.159" v="3058" actId="2711"/>
        <pc:sldMkLst>
          <pc:docMk/>
          <pc:sldMk cId="3006974179" sldId="766"/>
        </pc:sldMkLst>
        <pc:spChg chg="mod">
          <ac:chgData name="christophe CHUECOS-FONT" userId="7e57acaa-4bc6-4644-8edc-0ecdded28594" providerId="ADAL" clId="{9817B8E0-72E5-4A80-920F-95B62F123057}" dt="2021-02-05T13:08:56.159" v="3058" actId="2711"/>
          <ac:spMkLst>
            <pc:docMk/>
            <pc:sldMk cId="3006974179" sldId="766"/>
            <ac:spMk id="10" creationId="{2104DD9E-7F53-465D-8561-41BB61362ACA}"/>
          </ac:spMkLst>
        </pc:spChg>
      </pc:sldChg>
      <pc:sldChg chg="modSp add mod">
        <pc:chgData name="christophe CHUECOS-FONT" userId="7e57acaa-4bc6-4644-8edc-0ecdded28594" providerId="ADAL" clId="{9817B8E0-72E5-4A80-920F-95B62F123057}" dt="2021-02-05T13:09:53.568" v="3063" actId="20577"/>
        <pc:sldMkLst>
          <pc:docMk/>
          <pc:sldMk cId="3594099411" sldId="767"/>
        </pc:sldMkLst>
        <pc:spChg chg="mod">
          <ac:chgData name="christophe CHUECOS-FONT" userId="7e57acaa-4bc6-4644-8edc-0ecdded28594" providerId="ADAL" clId="{9817B8E0-72E5-4A80-920F-95B62F123057}" dt="2021-02-05T13:09:53.568" v="3063" actId="20577"/>
          <ac:spMkLst>
            <pc:docMk/>
            <pc:sldMk cId="3594099411" sldId="767"/>
            <ac:spMk id="10" creationId="{2104DD9E-7F53-465D-8561-41BB61362ACA}"/>
          </ac:spMkLst>
        </pc:spChg>
      </pc:sldChg>
      <pc:sldChg chg="modSp add mod">
        <pc:chgData name="christophe CHUECOS-FONT" userId="7e57acaa-4bc6-4644-8edc-0ecdded28594" providerId="ADAL" clId="{9817B8E0-72E5-4A80-920F-95B62F123057}" dt="2021-02-05T13:10:41.148" v="3067" actId="207"/>
        <pc:sldMkLst>
          <pc:docMk/>
          <pc:sldMk cId="3439461203" sldId="768"/>
        </pc:sldMkLst>
        <pc:spChg chg="mod">
          <ac:chgData name="christophe CHUECOS-FONT" userId="7e57acaa-4bc6-4644-8edc-0ecdded28594" providerId="ADAL" clId="{9817B8E0-72E5-4A80-920F-95B62F123057}" dt="2021-02-05T13:10:41.148" v="3067" actId="207"/>
          <ac:spMkLst>
            <pc:docMk/>
            <pc:sldMk cId="3439461203" sldId="768"/>
            <ac:spMk id="10" creationId="{2104DD9E-7F53-465D-8561-41BB61362ACA}"/>
          </ac:spMkLst>
        </pc:spChg>
      </pc:sldChg>
      <pc:sldChg chg="addSp delSp modSp add mod ord setBg setClrOvrMap">
        <pc:chgData name="christophe CHUECOS-FONT" userId="7e57acaa-4bc6-4644-8edc-0ecdded28594" providerId="ADAL" clId="{9817B8E0-72E5-4A80-920F-95B62F123057}" dt="2021-02-05T13:28:38.120" v="3219" actId="26606"/>
        <pc:sldMkLst>
          <pc:docMk/>
          <pc:sldMk cId="1646378701" sldId="769"/>
        </pc:sldMkLst>
        <pc:spChg chg="mod">
          <ac:chgData name="christophe CHUECOS-FONT" userId="7e57acaa-4bc6-4644-8edc-0ecdded28594" providerId="ADAL" clId="{9817B8E0-72E5-4A80-920F-95B62F123057}" dt="2021-02-05T13:28:38.120" v="3219" actId="26606"/>
          <ac:spMkLst>
            <pc:docMk/>
            <pc:sldMk cId="1646378701" sldId="769"/>
            <ac:spMk id="2" creationId="{55455007-8AF7-4CFF-8B0D-381E697B6724}"/>
          </ac:spMkLst>
        </pc:spChg>
        <pc:spChg chg="add del">
          <ac:chgData name="christophe CHUECOS-FONT" userId="7e57acaa-4bc6-4644-8edc-0ecdded28594" providerId="ADAL" clId="{9817B8E0-72E5-4A80-920F-95B62F123057}" dt="2021-02-05T13:28:38.120" v="3219" actId="26606"/>
          <ac:spMkLst>
            <pc:docMk/>
            <pc:sldMk cId="1646378701" sldId="769"/>
            <ac:spMk id="10" creationId="{07E773EB-1EC1-4E49-9DE2-E6F460497242}"/>
          </ac:spMkLst>
        </pc:spChg>
        <pc:spChg chg="add del">
          <ac:chgData name="christophe CHUECOS-FONT" userId="7e57acaa-4bc6-4644-8edc-0ecdded28594" providerId="ADAL" clId="{9817B8E0-72E5-4A80-920F-95B62F123057}" dt="2021-02-05T13:28:36.052" v="3216" actId="26606"/>
          <ac:spMkLst>
            <pc:docMk/>
            <pc:sldMk cId="1646378701" sldId="769"/>
            <ac:spMk id="15" creationId="{59A309A7-1751-4ABE-A3C1-EEC40366AD89}"/>
          </ac:spMkLst>
        </pc:spChg>
        <pc:spChg chg="add del">
          <ac:chgData name="christophe CHUECOS-FONT" userId="7e57acaa-4bc6-4644-8edc-0ecdded28594" providerId="ADAL" clId="{9817B8E0-72E5-4A80-920F-95B62F123057}" dt="2021-02-05T13:28:36.052" v="3216" actId="26606"/>
          <ac:spMkLst>
            <pc:docMk/>
            <pc:sldMk cId="1646378701" sldId="769"/>
            <ac:spMk id="17" creationId="{967D8EB6-EAE1-4F9C-B398-83321E287204}"/>
          </ac:spMkLst>
        </pc:spChg>
        <pc:spChg chg="add del">
          <ac:chgData name="christophe CHUECOS-FONT" userId="7e57acaa-4bc6-4644-8edc-0ecdded28594" providerId="ADAL" clId="{9817B8E0-72E5-4A80-920F-95B62F123057}" dt="2021-02-05T13:28:38.120" v="3218" actId="26606"/>
          <ac:spMkLst>
            <pc:docMk/>
            <pc:sldMk cId="1646378701" sldId="769"/>
            <ac:spMk id="19" creationId="{9B7AD9F6-8CE7-4299-8FC6-328F4DCD3FF9}"/>
          </ac:spMkLst>
        </pc:spChg>
        <pc:spChg chg="add del">
          <ac:chgData name="christophe CHUECOS-FONT" userId="7e57acaa-4bc6-4644-8edc-0ecdded28594" providerId="ADAL" clId="{9817B8E0-72E5-4A80-920F-95B62F123057}" dt="2021-02-05T13:28:38.120" v="3218" actId="26606"/>
          <ac:spMkLst>
            <pc:docMk/>
            <pc:sldMk cId="1646378701" sldId="769"/>
            <ac:spMk id="20" creationId="{F49775AF-8896-43EE-92C6-83497D6DC56F}"/>
          </ac:spMkLst>
        </pc:spChg>
        <pc:spChg chg="add">
          <ac:chgData name="christophe CHUECOS-FONT" userId="7e57acaa-4bc6-4644-8edc-0ecdded28594" providerId="ADAL" clId="{9817B8E0-72E5-4A80-920F-95B62F123057}" dt="2021-02-05T13:28:38.120" v="3219" actId="26606"/>
          <ac:spMkLst>
            <pc:docMk/>
            <pc:sldMk cId="1646378701" sldId="769"/>
            <ac:spMk id="22" creationId="{B50AB553-2A96-4A92-96F2-93548E096954}"/>
          </ac:spMkLst>
        </pc:spChg>
        <pc:graphicFrameChg chg="mod modGraphic">
          <ac:chgData name="christophe CHUECOS-FONT" userId="7e57acaa-4bc6-4644-8edc-0ecdded28594" providerId="ADAL" clId="{9817B8E0-72E5-4A80-920F-95B62F123057}" dt="2021-02-05T13:28:38.120" v="3219" actId="26606"/>
          <ac:graphicFrameMkLst>
            <pc:docMk/>
            <pc:sldMk cId="1646378701" sldId="769"/>
            <ac:graphicFrameMk id="5" creationId="{0C899C7D-CFDA-4D32-B2E9-07B40C3BB1B2}"/>
          </ac:graphicFrameMkLst>
        </pc:graphicFrameChg>
      </pc:sldChg>
      <pc:sldChg chg="addSp delSp modSp add mod ord">
        <pc:chgData name="christophe CHUECOS-FONT" userId="7e57acaa-4bc6-4644-8edc-0ecdded28594" providerId="ADAL" clId="{9817B8E0-72E5-4A80-920F-95B62F123057}" dt="2021-02-05T13:28:12.518" v="3212"/>
        <pc:sldMkLst>
          <pc:docMk/>
          <pc:sldMk cId="6719625" sldId="770"/>
        </pc:sldMkLst>
        <pc:spChg chg="mod">
          <ac:chgData name="christophe CHUECOS-FONT" userId="7e57acaa-4bc6-4644-8edc-0ecdded28594" providerId="ADAL" clId="{9817B8E0-72E5-4A80-920F-95B62F123057}" dt="2021-02-05T13:28:00.639" v="3208" actId="26606"/>
          <ac:spMkLst>
            <pc:docMk/>
            <pc:sldMk cId="6719625" sldId="770"/>
            <ac:spMk id="2" creationId="{55455007-8AF7-4CFF-8B0D-381E697B6724}"/>
          </ac:spMkLst>
        </pc:spChg>
        <pc:spChg chg="del">
          <ac:chgData name="christophe CHUECOS-FONT" userId="7e57acaa-4bc6-4644-8edc-0ecdded28594" providerId="ADAL" clId="{9817B8E0-72E5-4A80-920F-95B62F123057}" dt="2021-02-05T13:28:00.639" v="3208" actId="26606"/>
          <ac:spMkLst>
            <pc:docMk/>
            <pc:sldMk cId="6719625" sldId="770"/>
            <ac:spMk id="10" creationId="{07E773EB-1EC1-4E49-9DE2-E6F460497242}"/>
          </ac:spMkLst>
        </pc:spChg>
        <pc:spChg chg="add">
          <ac:chgData name="christophe CHUECOS-FONT" userId="7e57acaa-4bc6-4644-8edc-0ecdded28594" providerId="ADAL" clId="{9817B8E0-72E5-4A80-920F-95B62F123057}" dt="2021-02-05T13:28:00.639" v="3208" actId="26606"/>
          <ac:spMkLst>
            <pc:docMk/>
            <pc:sldMk cId="6719625" sldId="770"/>
            <ac:spMk id="15" creationId="{257363FD-7E77-4145-9483-331A807ADF0E}"/>
          </ac:spMkLst>
        </pc:spChg>
        <pc:graphicFrameChg chg="mod modGraphic">
          <ac:chgData name="christophe CHUECOS-FONT" userId="7e57acaa-4bc6-4644-8edc-0ecdded28594" providerId="ADAL" clId="{9817B8E0-72E5-4A80-920F-95B62F123057}" dt="2021-02-05T13:28:12.518" v="3212"/>
          <ac:graphicFrameMkLst>
            <pc:docMk/>
            <pc:sldMk cId="6719625" sldId="770"/>
            <ac:graphicFrameMk id="5" creationId="{0C899C7D-CFDA-4D32-B2E9-07B40C3BB1B2}"/>
          </ac:graphicFrameMkLst>
        </pc:graphicFrame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diagrams/_rels/data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diagrams/_rels/drawing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CCA5B7E-21A6-4DC3-AEB6-73C0341295A9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E795DB93-7A97-450F-98F4-ED1E9136DB9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En</a:t>
          </a:r>
          <a:r>
            <a:rPr lang="en-US" dirty="0"/>
            <a:t> tableau =&gt; </a:t>
          </a:r>
          <a:r>
            <a:rPr lang="en-US" dirty="0" err="1"/>
            <a:t>pédago</a:t>
          </a:r>
          <a:endParaRPr lang="en-US" dirty="0"/>
        </a:p>
      </dgm:t>
    </dgm:pt>
    <dgm:pt modelId="{5B8FA836-B932-461E-8FB8-E5B80EA0822F}" type="parTrans" cxnId="{B02DAE81-278C-4C87-851D-4AB83F77BA19}">
      <dgm:prSet/>
      <dgm:spPr/>
      <dgm:t>
        <a:bodyPr/>
        <a:lstStyle/>
        <a:p>
          <a:endParaRPr lang="en-US"/>
        </a:p>
      </dgm:t>
    </dgm:pt>
    <dgm:pt modelId="{A1C8728D-DD21-4CAC-83E7-6F49F6B34D00}" type="sibTrans" cxnId="{B02DAE81-278C-4C87-851D-4AB83F77BA19}">
      <dgm:prSet/>
      <dgm:spPr/>
      <dgm:t>
        <a:bodyPr/>
        <a:lstStyle/>
        <a:p>
          <a:endParaRPr lang="en-US"/>
        </a:p>
      </dgm:t>
    </dgm:pt>
    <dgm:pt modelId="{C1E51F19-9EB4-4BFA-9965-31A70CF860D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En</a:t>
          </a:r>
          <a:r>
            <a:rPr lang="en-US" dirty="0"/>
            <a:t> </a:t>
          </a:r>
          <a:r>
            <a:rPr lang="en-US" dirty="0" err="1"/>
            <a:t>liste</a:t>
          </a:r>
          <a:r>
            <a:rPr lang="en-US" dirty="0"/>
            <a:t> =&gt; </a:t>
          </a:r>
          <a:r>
            <a:rPr lang="en-US" dirty="0" err="1"/>
            <a:t>liasse</a:t>
          </a:r>
          <a:endParaRPr lang="en-US" dirty="0"/>
        </a:p>
      </dgm:t>
    </dgm:pt>
    <dgm:pt modelId="{4B84D0E7-894C-4089-9E92-AB79AF63F277}" type="parTrans" cxnId="{6C5E4B9F-D674-45F3-AA7C-E485FF4F2786}">
      <dgm:prSet/>
      <dgm:spPr/>
      <dgm:t>
        <a:bodyPr/>
        <a:lstStyle/>
        <a:p>
          <a:endParaRPr lang="en-US"/>
        </a:p>
      </dgm:t>
    </dgm:pt>
    <dgm:pt modelId="{B70D632C-0E88-46DE-AEEF-23B4995490BB}" type="sibTrans" cxnId="{6C5E4B9F-D674-45F3-AA7C-E485FF4F2786}">
      <dgm:prSet/>
      <dgm:spPr/>
      <dgm:t>
        <a:bodyPr/>
        <a:lstStyle/>
        <a:p>
          <a:endParaRPr lang="en-US"/>
        </a:p>
      </dgm:t>
    </dgm:pt>
    <dgm:pt modelId="{1E55ED33-0951-4B2B-A3D5-5EFB734522D4}" type="pres">
      <dgm:prSet presAssocID="{2CCA5B7E-21A6-4DC3-AEB6-73C0341295A9}" presName="root" presStyleCnt="0">
        <dgm:presLayoutVars>
          <dgm:dir/>
          <dgm:resizeHandles val="exact"/>
        </dgm:presLayoutVars>
      </dgm:prSet>
      <dgm:spPr/>
    </dgm:pt>
    <dgm:pt modelId="{E9491E1C-A07B-4BE9-9851-80ED2972F1A5}" type="pres">
      <dgm:prSet presAssocID="{E795DB93-7A97-450F-98F4-ED1E9136DB97}" presName="compNode" presStyleCnt="0"/>
      <dgm:spPr/>
    </dgm:pt>
    <dgm:pt modelId="{66A3DAA9-DB59-4706-A27B-466FAABE7F09}" type="pres">
      <dgm:prSet presAssocID="{E795DB93-7A97-450F-98F4-ED1E9136DB97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nseignant avec un remplissage uni"/>
        </a:ext>
      </dgm:extLst>
    </dgm:pt>
    <dgm:pt modelId="{C2CD11CD-23CA-4935-BF03-B26B488EAA20}" type="pres">
      <dgm:prSet presAssocID="{E795DB93-7A97-450F-98F4-ED1E9136DB97}" presName="spaceRect" presStyleCnt="0"/>
      <dgm:spPr/>
    </dgm:pt>
    <dgm:pt modelId="{8CFEC6EC-C75B-4D5F-BF78-3A7B6AC37F8F}" type="pres">
      <dgm:prSet presAssocID="{E795DB93-7A97-450F-98F4-ED1E9136DB97}" presName="textRect" presStyleLbl="revTx" presStyleIdx="0" presStyleCnt="2">
        <dgm:presLayoutVars>
          <dgm:chMax val="1"/>
          <dgm:chPref val="1"/>
        </dgm:presLayoutVars>
      </dgm:prSet>
      <dgm:spPr/>
    </dgm:pt>
    <dgm:pt modelId="{A534A6A3-6FED-4FC9-93D3-56D82216C7D0}" type="pres">
      <dgm:prSet presAssocID="{A1C8728D-DD21-4CAC-83E7-6F49F6B34D00}" presName="sibTrans" presStyleCnt="0"/>
      <dgm:spPr/>
    </dgm:pt>
    <dgm:pt modelId="{1EEB9D7E-5DEB-40EC-8DD9-776DDE6FFF80}" type="pres">
      <dgm:prSet presAssocID="{C1E51F19-9EB4-4BFA-9965-31A70CF860D2}" presName="compNode" presStyleCnt="0"/>
      <dgm:spPr/>
    </dgm:pt>
    <dgm:pt modelId="{36F343E4-A148-4814-80CB-87DAED571C9A}" type="pres">
      <dgm:prSet presAssocID="{C1E51F19-9EB4-4BFA-9965-31A70CF860D2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ste de contrôle contour"/>
        </a:ext>
      </dgm:extLst>
    </dgm:pt>
    <dgm:pt modelId="{701675BD-9CB4-4207-9086-136ED0A7226E}" type="pres">
      <dgm:prSet presAssocID="{C1E51F19-9EB4-4BFA-9965-31A70CF860D2}" presName="spaceRect" presStyleCnt="0"/>
      <dgm:spPr/>
    </dgm:pt>
    <dgm:pt modelId="{49798EB1-FC90-4757-94C7-B1833DF5E1FC}" type="pres">
      <dgm:prSet presAssocID="{C1E51F19-9EB4-4BFA-9965-31A70CF860D2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A25F8523-40B1-47DB-8627-56E8B6BBAFEE}" type="presOf" srcId="{C1E51F19-9EB4-4BFA-9965-31A70CF860D2}" destId="{49798EB1-FC90-4757-94C7-B1833DF5E1FC}" srcOrd="0" destOrd="0" presId="urn:microsoft.com/office/officeart/2018/2/layout/IconLabelList"/>
    <dgm:cxn modelId="{B02DAE81-278C-4C87-851D-4AB83F77BA19}" srcId="{2CCA5B7E-21A6-4DC3-AEB6-73C0341295A9}" destId="{E795DB93-7A97-450F-98F4-ED1E9136DB97}" srcOrd="0" destOrd="0" parTransId="{5B8FA836-B932-461E-8FB8-E5B80EA0822F}" sibTransId="{A1C8728D-DD21-4CAC-83E7-6F49F6B34D00}"/>
    <dgm:cxn modelId="{6C5E4B9F-D674-45F3-AA7C-E485FF4F2786}" srcId="{2CCA5B7E-21A6-4DC3-AEB6-73C0341295A9}" destId="{C1E51F19-9EB4-4BFA-9965-31A70CF860D2}" srcOrd="1" destOrd="0" parTransId="{4B84D0E7-894C-4089-9E92-AB79AF63F277}" sibTransId="{B70D632C-0E88-46DE-AEEF-23B4995490BB}"/>
    <dgm:cxn modelId="{DAE7ABDC-1BC6-4E9B-9D0E-44F6166AF3D3}" type="presOf" srcId="{E795DB93-7A97-450F-98F4-ED1E9136DB97}" destId="{8CFEC6EC-C75B-4D5F-BF78-3A7B6AC37F8F}" srcOrd="0" destOrd="0" presId="urn:microsoft.com/office/officeart/2018/2/layout/IconLabelList"/>
    <dgm:cxn modelId="{DE1808F8-0DF3-4D2C-88AB-8EA1546BE934}" type="presOf" srcId="{2CCA5B7E-21A6-4DC3-AEB6-73C0341295A9}" destId="{1E55ED33-0951-4B2B-A3D5-5EFB734522D4}" srcOrd="0" destOrd="0" presId="urn:microsoft.com/office/officeart/2018/2/layout/IconLabelList"/>
    <dgm:cxn modelId="{60D5292A-C524-4DF4-AADE-B3151894724B}" type="presParOf" srcId="{1E55ED33-0951-4B2B-A3D5-5EFB734522D4}" destId="{E9491E1C-A07B-4BE9-9851-80ED2972F1A5}" srcOrd="0" destOrd="0" presId="urn:microsoft.com/office/officeart/2018/2/layout/IconLabelList"/>
    <dgm:cxn modelId="{0EA62072-EA38-4239-94A6-127C11AD6FD9}" type="presParOf" srcId="{E9491E1C-A07B-4BE9-9851-80ED2972F1A5}" destId="{66A3DAA9-DB59-4706-A27B-466FAABE7F09}" srcOrd="0" destOrd="0" presId="urn:microsoft.com/office/officeart/2018/2/layout/IconLabelList"/>
    <dgm:cxn modelId="{AE2ECE8F-1624-4790-A64F-1E3F702AA623}" type="presParOf" srcId="{E9491E1C-A07B-4BE9-9851-80ED2972F1A5}" destId="{C2CD11CD-23CA-4935-BF03-B26B488EAA20}" srcOrd="1" destOrd="0" presId="urn:microsoft.com/office/officeart/2018/2/layout/IconLabelList"/>
    <dgm:cxn modelId="{4C057801-5681-4B03-AE78-8BAD5089009A}" type="presParOf" srcId="{E9491E1C-A07B-4BE9-9851-80ED2972F1A5}" destId="{8CFEC6EC-C75B-4D5F-BF78-3A7B6AC37F8F}" srcOrd="2" destOrd="0" presId="urn:microsoft.com/office/officeart/2018/2/layout/IconLabelList"/>
    <dgm:cxn modelId="{A20AF26A-9EA8-4652-A8EE-4D0C4A5F920F}" type="presParOf" srcId="{1E55ED33-0951-4B2B-A3D5-5EFB734522D4}" destId="{A534A6A3-6FED-4FC9-93D3-56D82216C7D0}" srcOrd="1" destOrd="0" presId="urn:microsoft.com/office/officeart/2018/2/layout/IconLabelList"/>
    <dgm:cxn modelId="{3C602942-FA68-466C-915D-4C4FBC7BE76C}" type="presParOf" srcId="{1E55ED33-0951-4B2B-A3D5-5EFB734522D4}" destId="{1EEB9D7E-5DEB-40EC-8DD9-776DDE6FFF80}" srcOrd="2" destOrd="0" presId="urn:microsoft.com/office/officeart/2018/2/layout/IconLabelList"/>
    <dgm:cxn modelId="{88C31D1C-8E1C-42D7-A58D-A60E81EB67F0}" type="presParOf" srcId="{1EEB9D7E-5DEB-40EC-8DD9-776DDE6FFF80}" destId="{36F343E4-A148-4814-80CB-87DAED571C9A}" srcOrd="0" destOrd="0" presId="urn:microsoft.com/office/officeart/2018/2/layout/IconLabelList"/>
    <dgm:cxn modelId="{0F9226BA-3AA4-4CC7-B897-1F2FC89799B5}" type="presParOf" srcId="{1EEB9D7E-5DEB-40EC-8DD9-776DDE6FFF80}" destId="{701675BD-9CB4-4207-9086-136ED0A7226E}" srcOrd="1" destOrd="0" presId="urn:microsoft.com/office/officeart/2018/2/layout/IconLabelList"/>
    <dgm:cxn modelId="{6B92DCCB-BE64-4226-B3CB-5DE85D0F18C6}" type="presParOf" srcId="{1EEB9D7E-5DEB-40EC-8DD9-776DDE6FFF80}" destId="{49798EB1-FC90-4757-94C7-B1833DF5E1FC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ctr"/>
          <a:endParaRPr lang="fr-FR" sz="1200" b="1" u="sng" kern="1200" dirty="0"/>
        </a:p>
        <a:p>
          <a:pPr algn="l"/>
          <a:r>
            <a:rPr lang="fr-FR" sz="2400" kern="1200" dirty="0"/>
            <a:t>- </a:t>
          </a:r>
          <a:r>
            <a:rPr lang="fr-FR" sz="3600" b="1" kern="1200" dirty="0"/>
            <a:t>Amendes fiscales</a:t>
          </a:r>
          <a:r>
            <a:rPr lang="fr-FR" sz="3600" kern="1200" dirty="0"/>
            <a:t> (6712)</a:t>
          </a:r>
        </a:p>
        <a:p>
          <a:pPr algn="l"/>
          <a:r>
            <a:rPr lang="fr-FR" sz="3600" kern="1200" dirty="0"/>
            <a:t>- </a:t>
          </a:r>
          <a:r>
            <a:rPr lang="fr-FR" sz="3600" b="1" kern="1200" dirty="0"/>
            <a:t>Dons versés par l’entreprise</a:t>
          </a:r>
          <a:r>
            <a:rPr lang="fr-FR" sz="3600" kern="1200" dirty="0"/>
            <a:t> (6713)</a:t>
          </a:r>
        </a:p>
        <a:p>
          <a:pPr algn="l"/>
          <a:r>
            <a:rPr lang="fr-FR" sz="3600" b="1" kern="1200" dirty="0"/>
            <a:t>- Valeurs Comptables des Éléments d’Actif Cédés (V.C.E.A.C.)</a:t>
          </a:r>
          <a:r>
            <a:rPr lang="fr-FR" sz="3600" kern="1200" dirty="0"/>
            <a:t> : compte 675.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ctr"/>
          <a:endParaRPr lang="fr-FR" sz="1200" b="1" u="sng" kern="1200" dirty="0"/>
        </a:p>
        <a:p>
          <a:pPr algn="l"/>
          <a:r>
            <a:rPr lang="fr-FR" sz="3200" kern="1200" dirty="0"/>
            <a:t>Ce sont les </a:t>
          </a:r>
          <a:r>
            <a:rPr lang="fr-FR" sz="3200" b="1" kern="1200" dirty="0">
              <a:solidFill>
                <a:srgbClr val="FFC000"/>
              </a:solidFill>
            </a:rPr>
            <a:t>D</a:t>
          </a:r>
          <a:r>
            <a:rPr lang="fr-FR" sz="3200" kern="1200" dirty="0"/>
            <a:t>otations aux </a:t>
          </a:r>
        </a:p>
        <a:p>
          <a:pPr algn="l"/>
          <a:r>
            <a:rPr lang="fr-FR" sz="3600" b="1" kern="1200" dirty="0"/>
            <a:t>- </a:t>
          </a:r>
          <a:r>
            <a:rPr lang="fr-FR" sz="3600" b="1" kern="1200" dirty="0">
              <a:solidFill>
                <a:srgbClr val="FFC000"/>
              </a:solidFill>
            </a:rPr>
            <a:t>A</a:t>
          </a:r>
          <a:r>
            <a:rPr lang="fr-FR" sz="3600" b="0" kern="1200" dirty="0"/>
            <a:t>mortissements</a:t>
          </a:r>
        </a:p>
        <a:p>
          <a:pPr algn="l"/>
          <a:r>
            <a:rPr lang="fr-FR" sz="3600" b="0" kern="1200" dirty="0"/>
            <a:t>- </a:t>
          </a:r>
          <a:r>
            <a:rPr lang="fr-FR" sz="3600" b="1" kern="1200" dirty="0">
              <a:solidFill>
                <a:srgbClr val="FFC000"/>
              </a:solidFill>
            </a:rPr>
            <a:t>D</a:t>
          </a:r>
          <a:r>
            <a:rPr lang="fr-FR" sz="3600" b="0" kern="1200" dirty="0"/>
            <a:t>épréciations</a:t>
          </a:r>
        </a:p>
        <a:p>
          <a:pPr algn="l"/>
          <a:r>
            <a:rPr lang="fr-FR" sz="3600" b="0" kern="1200" dirty="0"/>
            <a:t>- </a:t>
          </a:r>
          <a:r>
            <a:rPr lang="fr-FR" sz="3600" b="1" kern="1200" dirty="0">
              <a:solidFill>
                <a:srgbClr val="FFC000"/>
              </a:solidFill>
            </a:rPr>
            <a:t>P</a:t>
          </a:r>
          <a:r>
            <a:rPr lang="fr-FR" sz="3600" b="0" kern="1200" dirty="0"/>
            <a:t>rovisions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fr-FR"/>
        </a:p>
      </dgm:t>
    </dgm:pt>
    <dgm:pt modelId="{E09E0457-75FF-4CC5-ACDD-DC23C6C27867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0EB909FA-3E83-4472-B156-6405693699CD}" type="pres">
      <dgm:prSet presAssocID="{787C544D-3023-4F60-B53C-768C848DCD54}" presName="dummyMaxCanvas" presStyleCnt="0">
        <dgm:presLayoutVars/>
      </dgm:prSet>
      <dgm:spPr/>
    </dgm:pt>
  </dgm:ptLst>
  <dgm:cxnLst>
    <dgm:cxn modelId="{4826CC48-60AE-4276-B66F-CECE3DE7F140}" type="presOf" srcId="{787C544D-3023-4F60-B53C-768C848DCD54}" destId="{E09E0457-75FF-4CC5-ACDD-DC23C6C27867}" srcOrd="0" destOrd="0" presId="urn:microsoft.com/office/officeart/2005/8/layout/vProcess5"/>
    <dgm:cxn modelId="{FF50C912-224B-410A-BCC5-0460D63DCC60}" type="presParOf" srcId="{E09E0457-75FF-4CC5-ACDD-DC23C6C27867}" destId="{0EB909FA-3E83-4472-B156-6405693699CD}" srcOrd="0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C0BF70A-8377-446F-B0D6-EA8D852FD75F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D587C93-6DAA-424F-8568-DBCA978284F9}">
      <dgm:prSet phldrT="[Texte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/>
            <a:t>Dotations</a:t>
          </a:r>
        </a:p>
      </dgm:t>
    </dgm:pt>
    <dgm:pt modelId="{8C7F385A-8EFA-41CF-97EC-2B15115C3ECA}" type="parTrans" cxnId="{90A29A82-75AD-459F-9658-FA93D9B56BE4}">
      <dgm:prSet/>
      <dgm:spPr/>
      <dgm:t>
        <a:bodyPr/>
        <a:lstStyle/>
        <a:p>
          <a:endParaRPr lang="fr-FR"/>
        </a:p>
      </dgm:t>
    </dgm:pt>
    <dgm:pt modelId="{2CD2D52D-2D20-4500-AAD1-1E579DBA91FD}" type="sibTrans" cxnId="{90A29A82-75AD-459F-9658-FA93D9B56BE4}">
      <dgm:prSet/>
      <dgm:spPr/>
      <dgm:t>
        <a:bodyPr/>
        <a:lstStyle/>
        <a:p>
          <a:endParaRPr lang="fr-FR"/>
        </a:p>
      </dgm:t>
    </dgm:pt>
    <dgm:pt modelId="{755460DA-6152-4DB2-A037-CAC3DC3E7B54}">
      <dgm:prSet phldrT="[Texte]">
        <dgm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>
              <a:solidFill>
                <a:schemeClr val="tx1"/>
              </a:solidFill>
            </a:rPr>
            <a:t>Exploitations - 681</a:t>
          </a:r>
        </a:p>
      </dgm:t>
    </dgm:pt>
    <dgm:pt modelId="{B5976A67-789E-4F56-84C7-8717E27C9222}" type="parTrans" cxnId="{22BCA84F-58B2-40E5-9202-C1F54D5DA80E}">
      <dgm:prSet/>
      <dgm:spPr/>
      <dgm:t>
        <a:bodyPr/>
        <a:lstStyle/>
        <a:p>
          <a:endParaRPr lang="fr-FR"/>
        </a:p>
      </dgm:t>
    </dgm:pt>
    <dgm:pt modelId="{7A8D382B-10E7-4815-B56E-CC4411CF789C}" type="sibTrans" cxnId="{22BCA84F-58B2-40E5-9202-C1F54D5DA80E}">
      <dgm:prSet/>
      <dgm:spPr/>
      <dgm:t>
        <a:bodyPr/>
        <a:lstStyle/>
        <a:p>
          <a:endParaRPr lang="fr-FR"/>
        </a:p>
      </dgm:t>
    </dgm:pt>
    <dgm:pt modelId="{ABFE7538-0962-4F4F-9B7D-F32FC48D4C3D}">
      <dgm:prSet phldrT="[Texte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dirty="0"/>
            <a:t>Exceptionnelles - 687</a:t>
          </a:r>
        </a:p>
      </dgm:t>
    </dgm:pt>
    <dgm:pt modelId="{CF954876-48BE-452F-90DC-E3BBA7CE1642}" type="parTrans" cxnId="{A18C7B46-7A15-4E16-A557-1CFF47B74BCA}">
      <dgm:prSet/>
      <dgm:spPr/>
      <dgm:t>
        <a:bodyPr/>
        <a:lstStyle/>
        <a:p>
          <a:endParaRPr lang="fr-FR"/>
        </a:p>
      </dgm:t>
    </dgm:pt>
    <dgm:pt modelId="{A102F6F4-269B-4186-A2A6-8B374D313DC2}" type="sibTrans" cxnId="{A18C7B46-7A15-4E16-A557-1CFF47B74BCA}">
      <dgm:prSet/>
      <dgm:spPr/>
      <dgm:t>
        <a:bodyPr/>
        <a:lstStyle/>
        <a:p>
          <a:endParaRPr lang="fr-FR"/>
        </a:p>
      </dgm:t>
    </dgm:pt>
    <dgm:pt modelId="{459F11E5-650B-45C6-B3EB-1D0FADF9C2C7}">
      <dgm:prSet phldrT="[Texte]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/>
            <a:t>Financières - 686</a:t>
          </a:r>
        </a:p>
      </dgm:t>
    </dgm:pt>
    <dgm:pt modelId="{4B1219A5-A6FD-4B86-A7E3-09C7F1B77C9E}" type="parTrans" cxnId="{578E717F-EB99-41D6-9BB6-AEE1BF48CC75}">
      <dgm:prSet/>
      <dgm:spPr/>
      <dgm:t>
        <a:bodyPr/>
        <a:lstStyle/>
        <a:p>
          <a:endParaRPr lang="fr-FR"/>
        </a:p>
      </dgm:t>
    </dgm:pt>
    <dgm:pt modelId="{A8BC8660-D357-4CEC-831C-C098600B0818}" type="sibTrans" cxnId="{578E717F-EB99-41D6-9BB6-AEE1BF48CC75}">
      <dgm:prSet/>
      <dgm:spPr/>
      <dgm:t>
        <a:bodyPr/>
        <a:lstStyle/>
        <a:p>
          <a:endParaRPr lang="fr-FR"/>
        </a:p>
      </dgm:t>
    </dgm:pt>
    <dgm:pt modelId="{0DD10425-1A8C-4E8A-A0E3-2F24205060ED}" type="pres">
      <dgm:prSet presAssocID="{FC0BF70A-8377-446F-B0D6-EA8D852FD75F}" presName="composite" presStyleCnt="0">
        <dgm:presLayoutVars>
          <dgm:chMax val="1"/>
          <dgm:dir/>
          <dgm:resizeHandles val="exact"/>
        </dgm:presLayoutVars>
      </dgm:prSet>
      <dgm:spPr/>
    </dgm:pt>
    <dgm:pt modelId="{EF5AC16C-1D90-43E6-B537-CFF18F986393}" type="pres">
      <dgm:prSet presAssocID="{9D587C93-6DAA-424F-8568-DBCA978284F9}" presName="roof" presStyleLbl="dkBgShp" presStyleIdx="0" presStyleCnt="2"/>
      <dgm:spPr/>
    </dgm:pt>
    <dgm:pt modelId="{14964C14-DF4F-4B1C-B3B1-03EA10F3A2D2}" type="pres">
      <dgm:prSet presAssocID="{9D587C93-6DAA-424F-8568-DBCA978284F9}" presName="pillars" presStyleCnt="0"/>
      <dgm:spPr/>
    </dgm:pt>
    <dgm:pt modelId="{64236E40-EC1C-4190-86F5-96304C964187}" type="pres">
      <dgm:prSet presAssocID="{9D587C93-6DAA-424F-8568-DBCA978284F9}" presName="pillar1" presStyleLbl="node1" presStyleIdx="0" presStyleCnt="3">
        <dgm:presLayoutVars>
          <dgm:bulletEnabled val="1"/>
        </dgm:presLayoutVars>
      </dgm:prSet>
      <dgm:spPr/>
    </dgm:pt>
    <dgm:pt modelId="{0F4EF4EC-3511-4DFE-89C9-8645555D1B0D}" type="pres">
      <dgm:prSet presAssocID="{459F11E5-650B-45C6-B3EB-1D0FADF9C2C7}" presName="pillarX" presStyleLbl="node1" presStyleIdx="1" presStyleCnt="3">
        <dgm:presLayoutVars>
          <dgm:bulletEnabled val="1"/>
        </dgm:presLayoutVars>
      </dgm:prSet>
      <dgm:spPr/>
    </dgm:pt>
    <dgm:pt modelId="{08C6AF31-ADD4-41A3-9C04-0A4F2F43B04E}" type="pres">
      <dgm:prSet presAssocID="{ABFE7538-0962-4F4F-9B7D-F32FC48D4C3D}" presName="pillarX" presStyleLbl="node1" presStyleIdx="2" presStyleCnt="3">
        <dgm:presLayoutVars>
          <dgm:bulletEnabled val="1"/>
        </dgm:presLayoutVars>
      </dgm:prSet>
      <dgm:spPr/>
    </dgm:pt>
    <dgm:pt modelId="{8D4A9ED2-2DA0-4AA3-AB07-CC47031528A2}" type="pres">
      <dgm:prSet presAssocID="{9D587C93-6DAA-424F-8568-DBCA978284F9}" presName="base" presStyleLbl="dkBgShp" presStyleIdx="1" presStyleCnt="2" custFlipVert="0" custScaleY="59150"/>
      <dgm:spPr>
        <a:solidFill>
          <a:srgbClr val="FFC000"/>
        </a:solidFill>
      </dgm:spPr>
    </dgm:pt>
  </dgm:ptLst>
  <dgm:cxnLst>
    <dgm:cxn modelId="{86EEDE23-A8AD-4A7D-ACB9-C520981E8878}" type="presOf" srcId="{ABFE7538-0962-4F4F-9B7D-F32FC48D4C3D}" destId="{08C6AF31-ADD4-41A3-9C04-0A4F2F43B04E}" srcOrd="0" destOrd="0" presId="urn:microsoft.com/office/officeart/2005/8/layout/hList3"/>
    <dgm:cxn modelId="{33359C34-2AEB-47E6-BBDA-1442D1CD050F}" type="presOf" srcId="{FC0BF70A-8377-446F-B0D6-EA8D852FD75F}" destId="{0DD10425-1A8C-4E8A-A0E3-2F24205060ED}" srcOrd="0" destOrd="0" presId="urn:microsoft.com/office/officeart/2005/8/layout/hList3"/>
    <dgm:cxn modelId="{A18C7B46-7A15-4E16-A557-1CFF47B74BCA}" srcId="{9D587C93-6DAA-424F-8568-DBCA978284F9}" destId="{ABFE7538-0962-4F4F-9B7D-F32FC48D4C3D}" srcOrd="2" destOrd="0" parTransId="{CF954876-48BE-452F-90DC-E3BBA7CE1642}" sibTransId="{A102F6F4-269B-4186-A2A6-8B374D313DC2}"/>
    <dgm:cxn modelId="{22BCA84F-58B2-40E5-9202-C1F54D5DA80E}" srcId="{9D587C93-6DAA-424F-8568-DBCA978284F9}" destId="{755460DA-6152-4DB2-A037-CAC3DC3E7B54}" srcOrd="0" destOrd="0" parTransId="{B5976A67-789E-4F56-84C7-8717E27C9222}" sibTransId="{7A8D382B-10E7-4815-B56E-CC4411CF789C}"/>
    <dgm:cxn modelId="{578E717F-EB99-41D6-9BB6-AEE1BF48CC75}" srcId="{9D587C93-6DAA-424F-8568-DBCA978284F9}" destId="{459F11E5-650B-45C6-B3EB-1D0FADF9C2C7}" srcOrd="1" destOrd="0" parTransId="{4B1219A5-A6FD-4B86-A7E3-09C7F1B77C9E}" sibTransId="{A8BC8660-D357-4CEC-831C-C098600B0818}"/>
    <dgm:cxn modelId="{90A29A82-75AD-459F-9658-FA93D9B56BE4}" srcId="{FC0BF70A-8377-446F-B0D6-EA8D852FD75F}" destId="{9D587C93-6DAA-424F-8568-DBCA978284F9}" srcOrd="0" destOrd="0" parTransId="{8C7F385A-8EFA-41CF-97EC-2B15115C3ECA}" sibTransId="{2CD2D52D-2D20-4500-AAD1-1E579DBA91FD}"/>
    <dgm:cxn modelId="{BDB0A6BA-BACE-49D4-A8E8-5343AB1D6BBC}" type="presOf" srcId="{755460DA-6152-4DB2-A037-CAC3DC3E7B54}" destId="{64236E40-EC1C-4190-86F5-96304C964187}" srcOrd="0" destOrd="0" presId="urn:microsoft.com/office/officeart/2005/8/layout/hList3"/>
    <dgm:cxn modelId="{682236BD-26DF-45E7-99FD-09A98CB45F7B}" type="presOf" srcId="{459F11E5-650B-45C6-B3EB-1D0FADF9C2C7}" destId="{0F4EF4EC-3511-4DFE-89C9-8645555D1B0D}" srcOrd="0" destOrd="0" presId="urn:microsoft.com/office/officeart/2005/8/layout/hList3"/>
    <dgm:cxn modelId="{9BBF34F9-0D9F-4D92-BF9F-4CEB3E002FB0}" type="presOf" srcId="{9D587C93-6DAA-424F-8568-DBCA978284F9}" destId="{EF5AC16C-1D90-43E6-B537-CFF18F986393}" srcOrd="0" destOrd="0" presId="urn:microsoft.com/office/officeart/2005/8/layout/hList3"/>
    <dgm:cxn modelId="{5EE6B37D-18F5-42DA-AE68-7F37A817A689}" type="presParOf" srcId="{0DD10425-1A8C-4E8A-A0E3-2F24205060ED}" destId="{EF5AC16C-1D90-43E6-B537-CFF18F986393}" srcOrd="0" destOrd="0" presId="urn:microsoft.com/office/officeart/2005/8/layout/hList3"/>
    <dgm:cxn modelId="{40BC4FC1-A668-422E-928F-9CAAFD27ED2D}" type="presParOf" srcId="{0DD10425-1A8C-4E8A-A0E3-2F24205060ED}" destId="{14964C14-DF4F-4B1C-B3B1-03EA10F3A2D2}" srcOrd="1" destOrd="0" presId="urn:microsoft.com/office/officeart/2005/8/layout/hList3"/>
    <dgm:cxn modelId="{D7CF2119-BEF0-4657-8EA2-B6192C910267}" type="presParOf" srcId="{14964C14-DF4F-4B1C-B3B1-03EA10F3A2D2}" destId="{64236E40-EC1C-4190-86F5-96304C964187}" srcOrd="0" destOrd="0" presId="urn:microsoft.com/office/officeart/2005/8/layout/hList3"/>
    <dgm:cxn modelId="{26D15F5D-2E03-465D-9C12-DE62FED0516D}" type="presParOf" srcId="{14964C14-DF4F-4B1C-B3B1-03EA10F3A2D2}" destId="{0F4EF4EC-3511-4DFE-89C9-8645555D1B0D}" srcOrd="1" destOrd="0" presId="urn:microsoft.com/office/officeart/2005/8/layout/hList3"/>
    <dgm:cxn modelId="{6B95CD5B-18B6-49E7-B594-F27313B9374B}" type="presParOf" srcId="{14964C14-DF4F-4B1C-B3B1-03EA10F3A2D2}" destId="{08C6AF31-ADD4-41A3-9C04-0A4F2F43B04E}" srcOrd="2" destOrd="0" presId="urn:microsoft.com/office/officeart/2005/8/layout/hList3"/>
    <dgm:cxn modelId="{081918F1-0065-4468-8E31-63D5086D5F37}" type="presParOf" srcId="{0DD10425-1A8C-4E8A-A0E3-2F24205060ED}" destId="{8D4A9ED2-2DA0-4AA3-AB07-CC47031528A2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ctr"/>
          <a:endParaRPr lang="fr-FR" sz="1200" b="1" u="sng" kern="1200" dirty="0"/>
        </a:p>
        <a:p>
          <a:pPr algn="l"/>
          <a:r>
            <a:rPr lang="x-none" sz="4000" b="0" u="none" kern="1200" dirty="0"/>
            <a:t>Participation des salariés aux fruits de l’expansion (691)</a:t>
          </a:r>
          <a:endParaRPr lang="fr-FR" sz="4000" b="0" u="none" kern="1200" dirty="0"/>
        </a:p>
        <a:p>
          <a:pPr algn="l"/>
          <a:r>
            <a:rPr lang="x-none" sz="4000" b="0" u="none" kern="1200" dirty="0"/>
            <a:t>Impôts sur les bénéfices et assimilés (695)</a:t>
          </a:r>
          <a:endParaRPr lang="fr-FR" sz="4000" b="0" u="none" kern="1200" dirty="0"/>
        </a:p>
        <a:p>
          <a:pPr algn="l"/>
          <a:r>
            <a:rPr lang="fr-FR" sz="4000" b="0" u="none" kern="1200" dirty="0"/>
            <a:t>Les crédits d’impôt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ctr"/>
          <a:endParaRPr lang="fr-FR" sz="1200" b="1" u="sng" kern="1200" dirty="0"/>
        </a:p>
        <a:p>
          <a:pPr algn="l"/>
          <a:r>
            <a:rPr lang="x-none" sz="4000" b="0" u="none" kern="1200" dirty="0"/>
            <a:t>Participation des salariés aux fruits de l’expansion (691)</a:t>
          </a:r>
          <a:endParaRPr lang="fr-FR" sz="4000" b="0" u="none" kern="1200" dirty="0"/>
        </a:p>
        <a:p>
          <a:pPr algn="l"/>
          <a:r>
            <a:rPr lang="x-none" sz="4000" b="0" u="none" kern="1200" dirty="0"/>
            <a:t>Impôts sur les bénéfices et assimilés (695)</a:t>
          </a:r>
          <a:endParaRPr lang="fr-FR" sz="4000" b="0" u="none" kern="1200" dirty="0"/>
        </a:p>
        <a:p>
          <a:pPr algn="l"/>
          <a:r>
            <a:rPr lang="fr-FR" sz="4000" b="0" u="none" kern="1200" dirty="0"/>
            <a:t>Les crédits d’impôt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- </a:t>
          </a:r>
          <a:r>
            <a:rPr lang="fr-FR" sz="2400" b="0" u="none" kern="1200" dirty="0"/>
            <a:t>Vente de produits finis (701)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Ventes de produits résiduels (703)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Prestations de services (706)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400" b="0" u="none" kern="1200" dirty="0"/>
            <a:t>- </a:t>
          </a:r>
          <a:r>
            <a:rPr lang="x-none" sz="2400" b="0" u="none" kern="1200" dirty="0"/>
            <a:t>Les ventes de marchandises (707)</a:t>
          </a:r>
          <a:endParaRPr lang="fr-FR" sz="2400" b="0" u="none" kern="1200" dirty="0"/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Les produits des activités annexes (708)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</a:t>
          </a:r>
          <a:r>
            <a:rPr lang="x-none" sz="2400" b="0" u="none" kern="1200" dirty="0"/>
            <a:t>R.R.R.A. sur production vendue (7091 à 7096 + 7098)</a:t>
          </a:r>
          <a:endParaRPr lang="fr-FR" sz="2400" b="0" u="none" kern="1200" dirty="0"/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2800" b="0" u="none" kern="1200" dirty="0"/>
            <a:t>Production stockée (713)</a:t>
          </a:r>
          <a:endParaRPr lang="fr-FR" sz="2800" b="0" u="none" kern="1200" dirty="0"/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800" kern="1200" dirty="0"/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kern="1200" dirty="0"/>
            <a:t>Il s’agit de la variation de stocks de ce que l’entreprise fabrique et vend =&gt;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800" b="0" kern="1200" dirty="0"/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0" kern="1200" dirty="0"/>
            <a:t>Elle est égale à =&gt; SF - SI 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400" b="0" u="none" kern="1200" dirty="0"/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3600" b="0" u="none" kern="1200" dirty="0"/>
            <a:t>Production immobilisée (72)</a:t>
          </a:r>
          <a:endParaRPr lang="fr-FR" sz="3600" b="0" u="none" kern="1200" dirty="0"/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600" kern="1200" dirty="0"/>
            <a:t>Compte utilisé quand une entreprise fabrique, pour elle-même, une immobilisation (un bâtiment, une machine...).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800" kern="1200" dirty="0"/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b="0" u="none" kern="1200" dirty="0"/>
            <a:t>74 - Subventions d'exploitation</a:t>
          </a:r>
        </a:p>
        <a:p>
          <a:r>
            <a:rPr lang="fr-FR" sz="3600" b="0" u="none" kern="1200" dirty="0"/>
            <a:t>75 - Autres produits de gestion courante</a:t>
          </a:r>
          <a:endParaRPr lang="fr-FR" sz="2800" kern="1200" dirty="0"/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ctr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0 - Achats (sauf 603)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01 - Achats stockés - Matières premières (et fournitures)</a:t>
          </a:r>
        </a:p>
        <a:p>
          <a:pPr algn="l"/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2 - Achats stockés – Autres approvisionnements</a:t>
          </a:r>
        </a:p>
        <a:p>
          <a:pPr algn="l"/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3 Variation de stocks</a:t>
          </a:r>
        </a:p>
        <a:p>
          <a:pPr algn="l"/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4 - Achats d'études et prestations de services</a:t>
          </a:r>
        </a:p>
        <a:p>
          <a:pPr algn="l"/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5 - Achats de matériel, équipements et travaux</a:t>
          </a:r>
        </a:p>
        <a:p>
          <a:pPr algn="l"/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6 - Achats non stockés de matière et fournitures</a:t>
          </a:r>
        </a:p>
        <a:p>
          <a:pPr algn="l"/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7 - Achats de marchandises</a:t>
          </a:r>
        </a:p>
        <a:p>
          <a:pPr algn="l"/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9 - Rabais, remises et ristournes obtenus sur achats</a:t>
          </a:r>
        </a:p>
        <a:p>
          <a:pPr algn="ctr"/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kern="1200" dirty="0"/>
            <a:t>- Reprises sur amortissements, dépréciations, provisions et transferts de charges d’exploitation – 781 / 786 / 787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kern="1200" dirty="0"/>
            <a:t>- Les transferts de charges 791 </a:t>
          </a:r>
          <a:endParaRPr lang="fr-FR" sz="2800" kern="1200" dirty="0"/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2CCA5B7E-21A6-4DC3-AEB6-73C0341295A9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E795DB93-7A97-450F-98F4-ED1E9136DB9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En</a:t>
          </a:r>
          <a:r>
            <a:rPr lang="en-US" dirty="0"/>
            <a:t> tableau =&gt; </a:t>
          </a:r>
          <a:r>
            <a:rPr lang="en-US" dirty="0" err="1"/>
            <a:t>pédago</a:t>
          </a:r>
          <a:endParaRPr lang="en-US" dirty="0"/>
        </a:p>
      </dgm:t>
    </dgm:pt>
    <dgm:pt modelId="{5B8FA836-B932-461E-8FB8-E5B80EA0822F}" type="parTrans" cxnId="{B02DAE81-278C-4C87-851D-4AB83F77BA19}">
      <dgm:prSet/>
      <dgm:spPr/>
      <dgm:t>
        <a:bodyPr/>
        <a:lstStyle/>
        <a:p>
          <a:endParaRPr lang="en-US"/>
        </a:p>
      </dgm:t>
    </dgm:pt>
    <dgm:pt modelId="{A1C8728D-DD21-4CAC-83E7-6F49F6B34D00}" type="sibTrans" cxnId="{B02DAE81-278C-4C87-851D-4AB83F77BA19}">
      <dgm:prSet/>
      <dgm:spPr/>
      <dgm:t>
        <a:bodyPr/>
        <a:lstStyle/>
        <a:p>
          <a:endParaRPr lang="en-US"/>
        </a:p>
      </dgm:t>
    </dgm:pt>
    <dgm:pt modelId="{C1E51F19-9EB4-4BFA-9965-31A70CF860D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 err="1"/>
            <a:t>En</a:t>
          </a:r>
          <a:r>
            <a:rPr lang="en-US" dirty="0"/>
            <a:t> </a:t>
          </a:r>
          <a:r>
            <a:rPr lang="en-US" dirty="0" err="1"/>
            <a:t>liste</a:t>
          </a:r>
          <a:r>
            <a:rPr lang="en-US" dirty="0"/>
            <a:t> =&gt; </a:t>
          </a:r>
          <a:r>
            <a:rPr lang="en-US" dirty="0" err="1"/>
            <a:t>liasse</a:t>
          </a:r>
          <a:endParaRPr lang="en-US" dirty="0"/>
        </a:p>
      </dgm:t>
    </dgm:pt>
    <dgm:pt modelId="{4B84D0E7-894C-4089-9E92-AB79AF63F277}" type="parTrans" cxnId="{6C5E4B9F-D674-45F3-AA7C-E485FF4F2786}">
      <dgm:prSet/>
      <dgm:spPr/>
      <dgm:t>
        <a:bodyPr/>
        <a:lstStyle/>
        <a:p>
          <a:endParaRPr lang="en-US"/>
        </a:p>
      </dgm:t>
    </dgm:pt>
    <dgm:pt modelId="{B70D632C-0E88-46DE-AEEF-23B4995490BB}" type="sibTrans" cxnId="{6C5E4B9F-D674-45F3-AA7C-E485FF4F2786}">
      <dgm:prSet/>
      <dgm:spPr/>
      <dgm:t>
        <a:bodyPr/>
        <a:lstStyle/>
        <a:p>
          <a:endParaRPr lang="en-US"/>
        </a:p>
      </dgm:t>
    </dgm:pt>
    <dgm:pt modelId="{1E55ED33-0951-4B2B-A3D5-5EFB734522D4}" type="pres">
      <dgm:prSet presAssocID="{2CCA5B7E-21A6-4DC3-AEB6-73C0341295A9}" presName="root" presStyleCnt="0">
        <dgm:presLayoutVars>
          <dgm:dir/>
          <dgm:resizeHandles val="exact"/>
        </dgm:presLayoutVars>
      </dgm:prSet>
      <dgm:spPr/>
    </dgm:pt>
    <dgm:pt modelId="{E9491E1C-A07B-4BE9-9851-80ED2972F1A5}" type="pres">
      <dgm:prSet presAssocID="{E795DB93-7A97-450F-98F4-ED1E9136DB97}" presName="compNode" presStyleCnt="0"/>
      <dgm:spPr/>
    </dgm:pt>
    <dgm:pt modelId="{66A3DAA9-DB59-4706-A27B-466FAABE7F09}" type="pres">
      <dgm:prSet presAssocID="{E795DB93-7A97-450F-98F4-ED1E9136DB97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nseignant avec un remplissage uni"/>
        </a:ext>
      </dgm:extLst>
    </dgm:pt>
    <dgm:pt modelId="{C2CD11CD-23CA-4935-BF03-B26B488EAA20}" type="pres">
      <dgm:prSet presAssocID="{E795DB93-7A97-450F-98F4-ED1E9136DB97}" presName="spaceRect" presStyleCnt="0"/>
      <dgm:spPr/>
    </dgm:pt>
    <dgm:pt modelId="{8CFEC6EC-C75B-4D5F-BF78-3A7B6AC37F8F}" type="pres">
      <dgm:prSet presAssocID="{E795DB93-7A97-450F-98F4-ED1E9136DB97}" presName="textRect" presStyleLbl="revTx" presStyleIdx="0" presStyleCnt="2">
        <dgm:presLayoutVars>
          <dgm:chMax val="1"/>
          <dgm:chPref val="1"/>
        </dgm:presLayoutVars>
      </dgm:prSet>
      <dgm:spPr/>
    </dgm:pt>
    <dgm:pt modelId="{A534A6A3-6FED-4FC9-93D3-56D82216C7D0}" type="pres">
      <dgm:prSet presAssocID="{A1C8728D-DD21-4CAC-83E7-6F49F6B34D00}" presName="sibTrans" presStyleCnt="0"/>
      <dgm:spPr/>
    </dgm:pt>
    <dgm:pt modelId="{1EEB9D7E-5DEB-40EC-8DD9-776DDE6FFF80}" type="pres">
      <dgm:prSet presAssocID="{C1E51F19-9EB4-4BFA-9965-31A70CF860D2}" presName="compNode" presStyleCnt="0"/>
      <dgm:spPr/>
    </dgm:pt>
    <dgm:pt modelId="{36F343E4-A148-4814-80CB-87DAED571C9A}" type="pres">
      <dgm:prSet presAssocID="{C1E51F19-9EB4-4BFA-9965-31A70CF860D2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ste de contrôle contour"/>
        </a:ext>
      </dgm:extLst>
    </dgm:pt>
    <dgm:pt modelId="{701675BD-9CB4-4207-9086-136ED0A7226E}" type="pres">
      <dgm:prSet presAssocID="{C1E51F19-9EB4-4BFA-9965-31A70CF860D2}" presName="spaceRect" presStyleCnt="0"/>
      <dgm:spPr/>
    </dgm:pt>
    <dgm:pt modelId="{49798EB1-FC90-4757-94C7-B1833DF5E1FC}" type="pres">
      <dgm:prSet presAssocID="{C1E51F19-9EB4-4BFA-9965-31A70CF860D2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A25F8523-40B1-47DB-8627-56E8B6BBAFEE}" type="presOf" srcId="{C1E51F19-9EB4-4BFA-9965-31A70CF860D2}" destId="{49798EB1-FC90-4757-94C7-B1833DF5E1FC}" srcOrd="0" destOrd="0" presId="urn:microsoft.com/office/officeart/2018/2/layout/IconLabelList"/>
    <dgm:cxn modelId="{B02DAE81-278C-4C87-851D-4AB83F77BA19}" srcId="{2CCA5B7E-21A6-4DC3-AEB6-73C0341295A9}" destId="{E795DB93-7A97-450F-98F4-ED1E9136DB97}" srcOrd="0" destOrd="0" parTransId="{5B8FA836-B932-461E-8FB8-E5B80EA0822F}" sibTransId="{A1C8728D-DD21-4CAC-83E7-6F49F6B34D00}"/>
    <dgm:cxn modelId="{6C5E4B9F-D674-45F3-AA7C-E485FF4F2786}" srcId="{2CCA5B7E-21A6-4DC3-AEB6-73C0341295A9}" destId="{C1E51F19-9EB4-4BFA-9965-31A70CF860D2}" srcOrd="1" destOrd="0" parTransId="{4B84D0E7-894C-4089-9E92-AB79AF63F277}" sibTransId="{B70D632C-0E88-46DE-AEEF-23B4995490BB}"/>
    <dgm:cxn modelId="{DAE7ABDC-1BC6-4E9B-9D0E-44F6166AF3D3}" type="presOf" srcId="{E795DB93-7A97-450F-98F4-ED1E9136DB97}" destId="{8CFEC6EC-C75B-4D5F-BF78-3A7B6AC37F8F}" srcOrd="0" destOrd="0" presId="urn:microsoft.com/office/officeart/2018/2/layout/IconLabelList"/>
    <dgm:cxn modelId="{DE1808F8-0DF3-4D2C-88AB-8EA1546BE934}" type="presOf" srcId="{2CCA5B7E-21A6-4DC3-AEB6-73C0341295A9}" destId="{1E55ED33-0951-4B2B-A3D5-5EFB734522D4}" srcOrd="0" destOrd="0" presId="urn:microsoft.com/office/officeart/2018/2/layout/IconLabelList"/>
    <dgm:cxn modelId="{60D5292A-C524-4DF4-AADE-B3151894724B}" type="presParOf" srcId="{1E55ED33-0951-4B2B-A3D5-5EFB734522D4}" destId="{E9491E1C-A07B-4BE9-9851-80ED2972F1A5}" srcOrd="0" destOrd="0" presId="urn:microsoft.com/office/officeart/2018/2/layout/IconLabelList"/>
    <dgm:cxn modelId="{0EA62072-EA38-4239-94A6-127C11AD6FD9}" type="presParOf" srcId="{E9491E1C-A07B-4BE9-9851-80ED2972F1A5}" destId="{66A3DAA9-DB59-4706-A27B-466FAABE7F09}" srcOrd="0" destOrd="0" presId="urn:microsoft.com/office/officeart/2018/2/layout/IconLabelList"/>
    <dgm:cxn modelId="{AE2ECE8F-1624-4790-A64F-1E3F702AA623}" type="presParOf" srcId="{E9491E1C-A07B-4BE9-9851-80ED2972F1A5}" destId="{C2CD11CD-23CA-4935-BF03-B26B488EAA20}" srcOrd="1" destOrd="0" presId="urn:microsoft.com/office/officeart/2018/2/layout/IconLabelList"/>
    <dgm:cxn modelId="{4C057801-5681-4B03-AE78-8BAD5089009A}" type="presParOf" srcId="{E9491E1C-A07B-4BE9-9851-80ED2972F1A5}" destId="{8CFEC6EC-C75B-4D5F-BF78-3A7B6AC37F8F}" srcOrd="2" destOrd="0" presId="urn:microsoft.com/office/officeart/2018/2/layout/IconLabelList"/>
    <dgm:cxn modelId="{A20AF26A-9EA8-4652-A8EE-4D0C4A5F920F}" type="presParOf" srcId="{1E55ED33-0951-4B2B-A3D5-5EFB734522D4}" destId="{A534A6A3-6FED-4FC9-93D3-56D82216C7D0}" srcOrd="1" destOrd="0" presId="urn:microsoft.com/office/officeart/2018/2/layout/IconLabelList"/>
    <dgm:cxn modelId="{3C602942-FA68-466C-915D-4C4FBC7BE76C}" type="presParOf" srcId="{1E55ED33-0951-4B2B-A3D5-5EFB734522D4}" destId="{1EEB9D7E-5DEB-40EC-8DD9-776DDE6FFF80}" srcOrd="2" destOrd="0" presId="urn:microsoft.com/office/officeart/2018/2/layout/IconLabelList"/>
    <dgm:cxn modelId="{88C31D1C-8E1C-42D7-A58D-A60E81EB67F0}" type="presParOf" srcId="{1EEB9D7E-5DEB-40EC-8DD9-776DDE6FFF80}" destId="{36F343E4-A148-4814-80CB-87DAED571C9A}" srcOrd="0" destOrd="0" presId="urn:microsoft.com/office/officeart/2018/2/layout/IconLabelList"/>
    <dgm:cxn modelId="{0F9226BA-3AA4-4CC7-B897-1F2FC89799B5}" type="presParOf" srcId="{1EEB9D7E-5DEB-40EC-8DD9-776DDE6FFF80}" destId="{701675BD-9CB4-4207-9086-136ED0A7226E}" srcOrd="1" destOrd="0" presId="urn:microsoft.com/office/officeart/2018/2/layout/IconLabelList"/>
    <dgm:cxn modelId="{6B92DCCB-BE64-4226-B3CB-5DE85D0F18C6}" type="presParOf" srcId="{1EEB9D7E-5DEB-40EC-8DD9-776DDE6FFF80}" destId="{49798EB1-FC90-4757-94C7-B1833DF5E1FC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ctr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 – Service extérieurs 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1 - Sous-traitance générale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2 - Redevances de crédit-bail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3 – Locations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4 - Charges locatives et de copropriété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5 - Entretien et réparations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6 - Primes d'assurances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7 – Etudes et recherches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8 – Documentation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9 - RRR</a:t>
          </a:r>
        </a:p>
        <a:p>
          <a:endParaRPr lang="fr-FR" sz="2000" kern="1200" dirty="0">
            <a:solidFill>
              <a:srgbClr val="FFFFFF"/>
            </a:solidFill>
            <a:latin typeface="+mj-lt"/>
            <a:ea typeface="+mj-ea"/>
            <a:cs typeface="+mj-cs"/>
          </a:endParaRPr>
        </a:p>
        <a:p>
          <a:pPr algn="ctr"/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1 - Personnel extérieur à l'entreprise</a:t>
          </a:r>
        </a:p>
        <a:p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 - Rémunérations d'intermédiaires et honoraires</a:t>
          </a:r>
        </a:p>
        <a:p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1 - Commissions et courtages sur achats</a:t>
          </a:r>
        </a:p>
        <a:p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2 6226 - Honoraires</a:t>
          </a:r>
        </a:p>
        <a:p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7 - Frais d'actes et de contentieux</a:t>
          </a:r>
        </a:p>
        <a:p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8 - Divers</a:t>
          </a:r>
        </a:p>
        <a:p>
          <a:pPr algn="ctr"/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3 - Publicité, publications, relations publique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31 - Annonces et insertion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38 - Divers (pourboires, dons courants, …)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4 - Transports de biens et transports collectifs du personnel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 - Déplacements, missions et réception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1 - Voyages et déplacement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5 - Frais de déménagement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6 - Mission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7 – Réception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627 – </a:t>
          </a:r>
          <a:r>
            <a:rPr lang="fr-FR" sz="1800" kern="120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rais bancaires</a:t>
          </a:r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 – Impôts, taxes et versements assimilés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11 - Taxe sur les salaires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12 - Taxe d'apprentissage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13 - Participation des employeurs à la formation professionnelle continue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11 - Contribution économique territoriale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12 - Taxes foncières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14 - Taxe sur les véhicules des sociétés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3 - Impôts indirects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4 - Droits d'enregistrement et de timbre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41 - Droits de mutation</a:t>
          </a:r>
        </a:p>
        <a:p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8 - Autres droits</a:t>
          </a:r>
        </a:p>
        <a:p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ctr"/>
          <a:endParaRPr lang="fr-FR" sz="1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1 - Rémunérations du personnel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12 - Congés payé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13 - Primes et gratification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14 - Indemnités et avantages diver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4 - Rémunération du travail de l'exploitant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 - Charges de sécurité sociale et de prévoyance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1 - Cotisations à l'URSSAF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2 - Cotisations aux mutuelles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3 - Cotisations aux caisses de retraite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8 - Cotisations aux autres organismes sociaux</a:t>
          </a:r>
        </a:p>
        <a:p>
          <a:pPr algn="l"/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6 - Cotisations sociales personnelles de l'exploitant</a:t>
          </a: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ctr"/>
          <a:endParaRPr lang="fr-FR" sz="18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algn="l"/>
          <a:r>
            <a:rPr lang="fr-FR" sz="3600" b="0" kern="1200" dirty="0"/>
            <a:t>- Redevances payées (651).</a:t>
          </a:r>
        </a:p>
        <a:p>
          <a:pPr algn="l"/>
          <a:r>
            <a:rPr lang="fr-FR" sz="3600" b="0" kern="1200" dirty="0"/>
            <a:t>- Jetons de présence (653). </a:t>
          </a:r>
        </a:p>
        <a:p>
          <a:pPr algn="l"/>
          <a:r>
            <a:rPr lang="fr-FR" sz="3600" b="0" kern="1200" dirty="0"/>
            <a:t>- Pertes sur créances irrécouvrables (654</a:t>
          </a:r>
          <a:r>
            <a:rPr lang="fr-FR" sz="3600" kern="1200" dirty="0"/>
            <a:t>). </a:t>
          </a:r>
        </a:p>
        <a:p>
          <a:pPr algn="ctr"/>
          <a:endParaRPr lang="fr-FR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 custT="1"/>
      <dgm:spPr/>
      <dgm:t>
        <a:bodyPr/>
        <a:lstStyle/>
        <a:p>
          <a:pPr algn="ctr"/>
          <a:endParaRPr lang="fr-FR" sz="1200" b="1" u="sng" kern="1200" dirty="0"/>
        </a:p>
        <a:p>
          <a:pPr algn="l"/>
          <a:r>
            <a:rPr lang="x-none" sz="2400" b="0" u="none" kern="1200" dirty="0"/>
            <a:t>Intérêts et charges assimilés (661, 665)</a:t>
          </a:r>
          <a:endParaRPr lang="fr-FR" sz="2400" b="0" u="none" kern="1200" dirty="0"/>
        </a:p>
        <a:p>
          <a:pPr algn="l"/>
          <a:r>
            <a:rPr lang="fr-FR" sz="2400" b="0" u="none" kern="1200" dirty="0"/>
            <a:t>- Intérêts des emprunts et dettes contractés par l’entreprise (661).</a:t>
          </a:r>
        </a:p>
        <a:p>
          <a:pPr algn="l"/>
          <a:r>
            <a:rPr lang="fr-FR" sz="2400" b="0" u="none" kern="1200" dirty="0"/>
            <a:t>- Escomptes accordés (665).</a:t>
          </a:r>
        </a:p>
        <a:p>
          <a:pPr algn="l"/>
          <a:r>
            <a:rPr lang="fr-FR" sz="2400" b="0" u="none" kern="1200" dirty="0"/>
            <a:t>- </a:t>
          </a:r>
          <a:r>
            <a:rPr lang="x-none" sz="2400" b="0" u="none" kern="1200" dirty="0"/>
            <a:t>Différences négatives de change (666)</a:t>
          </a:r>
          <a:endParaRPr lang="fr-FR" sz="2400" b="0" u="none" kern="1200" dirty="0"/>
        </a:p>
        <a:p>
          <a:pPr algn="l"/>
          <a:r>
            <a:rPr lang="fr-FR" sz="2400" b="0" u="none" kern="1200" dirty="0"/>
            <a:t>- </a:t>
          </a:r>
          <a:r>
            <a:rPr lang="x-none" sz="2400" b="0" u="none" kern="1200" dirty="0"/>
            <a:t>Charges nettes sur cession de Valeurs Mobilières de Placement (667)</a:t>
          </a:r>
          <a:endParaRPr lang="fr-FR" sz="2400" b="0" u="none" kern="1200" dirty="0"/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DE71EF63-F0A2-4E1F-9EFF-6CF466F74FE1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B64CC261-BD97-4DFF-9209-B3228AAB22D4}" type="pres">
      <dgm:prSet presAssocID="{787C544D-3023-4F60-B53C-768C848DCD54}" presName="dummyMaxCanvas" presStyleCnt="0">
        <dgm:presLayoutVars/>
      </dgm:prSet>
      <dgm:spPr/>
    </dgm:pt>
    <dgm:pt modelId="{67D84562-8FA5-49BC-8F2E-C4E3ABC0F302}" type="pres">
      <dgm:prSet presAssocID="{787C544D-3023-4F60-B53C-768C848DCD54}" presName="OneNode_1" presStyleLbl="node1" presStyleIdx="0" presStyleCnt="1" custScaleY="200000" custLinFactNeighborX="1170" custLinFactNeighborY="-20362">
        <dgm:presLayoutVars>
          <dgm:bulletEnabled val="1"/>
        </dgm:presLayoutVars>
      </dgm:prSet>
      <dgm:spPr/>
    </dgm:pt>
  </dgm:ptLst>
  <dgm:cxnLst>
    <dgm:cxn modelId="{CE416505-0FAC-4AAF-AC05-B853CC37A930}" type="presOf" srcId="{787C544D-3023-4F60-B53C-768C848DCD54}" destId="{DE71EF63-F0A2-4E1F-9EFF-6CF466F74FE1}" srcOrd="0" destOrd="0" presId="urn:microsoft.com/office/officeart/2005/8/layout/vProcess5"/>
    <dgm:cxn modelId="{CBB5A1BD-36F8-468B-A910-A548017FF346}" type="presOf" srcId="{7246902C-F380-4244-A491-559EECE887E9}" destId="{67D84562-8FA5-49BC-8F2E-C4E3ABC0F302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9F5EF7D9-55FA-4E61-9B83-5BE7CAEA6159}" type="presParOf" srcId="{DE71EF63-F0A2-4E1F-9EFF-6CF466F74FE1}" destId="{B64CC261-BD97-4DFF-9209-B3228AAB22D4}" srcOrd="0" destOrd="0" presId="urn:microsoft.com/office/officeart/2005/8/layout/vProcess5"/>
    <dgm:cxn modelId="{2024F099-8755-43F5-86F0-0F2B1D2DD014}" type="presParOf" srcId="{DE71EF63-F0A2-4E1F-9EFF-6CF466F74FE1}" destId="{67D84562-8FA5-49BC-8F2E-C4E3ABC0F30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A3DAA9-DB59-4706-A27B-466FAABE7F09}">
      <dsp:nvSpPr>
        <dsp:cNvPr id="0" name=""/>
        <dsp:cNvSpPr/>
      </dsp:nvSpPr>
      <dsp:spPr>
        <a:xfrm>
          <a:off x="2193743" y="608594"/>
          <a:ext cx="1944000" cy="1944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FEC6EC-C75B-4D5F-BF78-3A7B6AC37F8F}">
      <dsp:nvSpPr>
        <dsp:cNvPr id="0" name=""/>
        <dsp:cNvSpPr/>
      </dsp:nvSpPr>
      <dsp:spPr>
        <a:xfrm>
          <a:off x="1005743" y="3022743"/>
          <a:ext cx="432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89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En</a:t>
          </a:r>
          <a:r>
            <a:rPr lang="en-US" sz="3800" kern="1200" dirty="0"/>
            <a:t> tableau =&gt; </a:t>
          </a:r>
          <a:r>
            <a:rPr lang="en-US" sz="3800" kern="1200" dirty="0" err="1"/>
            <a:t>pédago</a:t>
          </a:r>
          <a:endParaRPr lang="en-US" sz="3800" kern="1200" dirty="0"/>
        </a:p>
      </dsp:txBody>
      <dsp:txXfrm>
        <a:off x="1005743" y="3022743"/>
        <a:ext cx="4320000" cy="720000"/>
      </dsp:txXfrm>
    </dsp:sp>
    <dsp:sp modelId="{36F343E4-A148-4814-80CB-87DAED571C9A}">
      <dsp:nvSpPr>
        <dsp:cNvPr id="0" name=""/>
        <dsp:cNvSpPr/>
      </dsp:nvSpPr>
      <dsp:spPr>
        <a:xfrm>
          <a:off x="7269743" y="608594"/>
          <a:ext cx="1944000" cy="1944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798EB1-FC90-4757-94C7-B1833DF5E1FC}">
      <dsp:nvSpPr>
        <dsp:cNvPr id="0" name=""/>
        <dsp:cNvSpPr/>
      </dsp:nvSpPr>
      <dsp:spPr>
        <a:xfrm>
          <a:off x="6081743" y="3022743"/>
          <a:ext cx="432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89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En</a:t>
          </a:r>
          <a:r>
            <a:rPr lang="en-US" sz="3800" kern="1200" dirty="0"/>
            <a:t> </a:t>
          </a:r>
          <a:r>
            <a:rPr lang="en-US" sz="3800" kern="1200" dirty="0" err="1"/>
            <a:t>liste</a:t>
          </a:r>
          <a:r>
            <a:rPr lang="en-US" sz="3800" kern="1200" dirty="0"/>
            <a:t> =&gt; </a:t>
          </a:r>
          <a:r>
            <a:rPr lang="en-US" sz="3800" kern="1200" dirty="0" err="1"/>
            <a:t>liasse</a:t>
          </a:r>
          <a:endParaRPr lang="en-US" sz="3800" kern="1200" dirty="0"/>
        </a:p>
      </dsp:txBody>
      <dsp:txXfrm>
        <a:off x="6081743" y="3022743"/>
        <a:ext cx="4320000" cy="72000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200" b="1" u="sng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- </a:t>
          </a:r>
          <a:r>
            <a:rPr lang="fr-FR" sz="3600" b="1" kern="1200" dirty="0"/>
            <a:t>Amendes fiscales</a:t>
          </a:r>
          <a:r>
            <a:rPr lang="fr-FR" sz="3600" kern="1200" dirty="0"/>
            <a:t> (6712)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kern="1200" dirty="0"/>
            <a:t>- </a:t>
          </a:r>
          <a:r>
            <a:rPr lang="fr-FR" sz="3600" b="1" kern="1200" dirty="0"/>
            <a:t>Dons versés par l’entreprise</a:t>
          </a:r>
          <a:r>
            <a:rPr lang="fr-FR" sz="3600" kern="1200" dirty="0"/>
            <a:t> (6713)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b="1" kern="1200" dirty="0"/>
            <a:t>- Valeurs Comptables des Éléments d’Actif Cédés (V.C.E.A.C.)</a:t>
          </a:r>
          <a:r>
            <a:rPr lang="fr-FR" sz="3600" kern="1200" dirty="0"/>
            <a:t> : compte 675.</a:t>
          </a:r>
        </a:p>
      </dsp:txBody>
      <dsp:txXfrm>
        <a:off x="111714" y="111714"/>
        <a:ext cx="9589127" cy="359075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200" b="1" u="sng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200" kern="1200" dirty="0"/>
            <a:t>Ce sont les </a:t>
          </a:r>
          <a:r>
            <a:rPr lang="fr-FR" sz="3200" b="1" kern="1200" dirty="0">
              <a:solidFill>
                <a:srgbClr val="FFC000"/>
              </a:solidFill>
            </a:rPr>
            <a:t>D</a:t>
          </a:r>
          <a:r>
            <a:rPr lang="fr-FR" sz="3200" kern="1200" dirty="0"/>
            <a:t>otations aux 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b="1" kern="1200" dirty="0"/>
            <a:t>- </a:t>
          </a:r>
          <a:r>
            <a:rPr lang="fr-FR" sz="3600" b="1" kern="1200" dirty="0">
              <a:solidFill>
                <a:srgbClr val="FFC000"/>
              </a:solidFill>
            </a:rPr>
            <a:t>A</a:t>
          </a:r>
          <a:r>
            <a:rPr lang="fr-FR" sz="3600" b="0" kern="1200" dirty="0"/>
            <a:t>mortissement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b="0" kern="1200" dirty="0"/>
            <a:t>- </a:t>
          </a:r>
          <a:r>
            <a:rPr lang="fr-FR" sz="3600" b="1" kern="1200" dirty="0">
              <a:solidFill>
                <a:srgbClr val="FFC000"/>
              </a:solidFill>
            </a:rPr>
            <a:t>D</a:t>
          </a:r>
          <a:r>
            <a:rPr lang="fr-FR" sz="3600" b="0" kern="1200" dirty="0"/>
            <a:t>épréciation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b="0" kern="1200" dirty="0"/>
            <a:t>- </a:t>
          </a:r>
          <a:r>
            <a:rPr lang="fr-FR" sz="3600" b="1" kern="1200" dirty="0">
              <a:solidFill>
                <a:srgbClr val="FFC000"/>
              </a:solidFill>
            </a:rPr>
            <a:t>P</a:t>
          </a:r>
          <a:r>
            <a:rPr lang="fr-FR" sz="3600" b="0" kern="1200" dirty="0"/>
            <a:t>rovisions</a:t>
          </a:r>
        </a:p>
      </dsp:txBody>
      <dsp:txXfrm>
        <a:off x="111714" y="111714"/>
        <a:ext cx="9589127" cy="359075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5AC16C-1D90-43E6-B537-CFF18F986393}">
      <dsp:nvSpPr>
        <dsp:cNvPr id="0" name=""/>
        <dsp:cNvSpPr/>
      </dsp:nvSpPr>
      <dsp:spPr>
        <a:xfrm>
          <a:off x="0" y="38736"/>
          <a:ext cx="8128000" cy="1625600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accent2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500" kern="1200" dirty="0"/>
            <a:t>Dotations</a:t>
          </a:r>
        </a:p>
      </dsp:txBody>
      <dsp:txXfrm>
        <a:off x="0" y="38736"/>
        <a:ext cx="8128000" cy="1625600"/>
      </dsp:txXfrm>
    </dsp:sp>
    <dsp:sp modelId="{64236E40-EC1C-4190-86F5-96304C964187}">
      <dsp:nvSpPr>
        <dsp:cNvPr id="0" name=""/>
        <dsp:cNvSpPr/>
      </dsp:nvSpPr>
      <dsp:spPr>
        <a:xfrm>
          <a:off x="3968" y="1664336"/>
          <a:ext cx="2706687" cy="3413760"/>
        </a:xfrm>
        <a:prstGeom prst="rect">
          <a:avLst/>
        </a:prstGeom>
        <a:solidFill>
          <a:schemeClr val="accent4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4"/>
        </a:fillRef>
        <a:effectRef idx="1">
          <a:schemeClr val="accent4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kern="1200" dirty="0">
              <a:solidFill>
                <a:schemeClr val="tx1"/>
              </a:solidFill>
            </a:rPr>
            <a:t>Exploitations - 681</a:t>
          </a:r>
        </a:p>
      </dsp:txBody>
      <dsp:txXfrm>
        <a:off x="3968" y="1664336"/>
        <a:ext cx="2706687" cy="3413760"/>
      </dsp:txXfrm>
    </dsp:sp>
    <dsp:sp modelId="{0F4EF4EC-3511-4DFE-89C9-8645555D1B0D}">
      <dsp:nvSpPr>
        <dsp:cNvPr id="0" name=""/>
        <dsp:cNvSpPr/>
      </dsp:nvSpPr>
      <dsp:spPr>
        <a:xfrm>
          <a:off x="2710656" y="1664336"/>
          <a:ext cx="2706687" cy="3413760"/>
        </a:xfrm>
        <a:prstGeom prst="rect">
          <a:avLst/>
        </a:prstGeom>
        <a:solidFill>
          <a:schemeClr val="accent3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kern="1200" dirty="0"/>
            <a:t>Financières - 686</a:t>
          </a:r>
        </a:p>
      </dsp:txBody>
      <dsp:txXfrm>
        <a:off x="2710656" y="1664336"/>
        <a:ext cx="2706687" cy="3413760"/>
      </dsp:txXfrm>
    </dsp:sp>
    <dsp:sp modelId="{08C6AF31-ADD4-41A3-9C04-0A4F2F43B04E}">
      <dsp:nvSpPr>
        <dsp:cNvPr id="0" name=""/>
        <dsp:cNvSpPr/>
      </dsp:nvSpPr>
      <dsp:spPr>
        <a:xfrm>
          <a:off x="5417343" y="1664336"/>
          <a:ext cx="2706687" cy="3413760"/>
        </a:xfrm>
        <a:prstGeom prst="rect">
          <a:avLst/>
        </a:prstGeom>
        <a:gradFill rotWithShape="1">
          <a:gsLst>
            <a:gs pos="0">
              <a:schemeClr val="accent6">
                <a:lumMod val="110000"/>
                <a:satMod val="105000"/>
                <a:tint val="67000"/>
              </a:schemeClr>
            </a:gs>
            <a:gs pos="50000">
              <a:schemeClr val="accent6">
                <a:lumMod val="105000"/>
                <a:satMod val="103000"/>
                <a:tint val="73000"/>
              </a:schemeClr>
            </a:gs>
            <a:gs pos="100000">
              <a:schemeClr val="accent6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kern="1200" dirty="0"/>
            <a:t>Exceptionnelles - 687</a:t>
          </a:r>
        </a:p>
      </dsp:txBody>
      <dsp:txXfrm>
        <a:off x="5417343" y="1664336"/>
        <a:ext cx="2706687" cy="3413760"/>
      </dsp:txXfrm>
    </dsp:sp>
    <dsp:sp modelId="{8D4A9ED2-2DA0-4AA3-AB07-CC47031528A2}">
      <dsp:nvSpPr>
        <dsp:cNvPr id="0" name=""/>
        <dsp:cNvSpPr/>
      </dsp:nvSpPr>
      <dsp:spPr>
        <a:xfrm>
          <a:off x="0" y="5155570"/>
          <a:ext cx="8128000" cy="224359"/>
        </a:xfrm>
        <a:prstGeom prst="rect">
          <a:avLst/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200" b="1" u="sng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4000" b="0" u="none" kern="1200" dirty="0"/>
            <a:t>Participation des salariés aux fruits de l’expansion (691)</a:t>
          </a:r>
          <a:endParaRPr lang="fr-FR" sz="4000" b="0" u="none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4000" b="0" u="none" kern="1200" dirty="0"/>
            <a:t>Impôts sur les bénéfices et assimilés (695)</a:t>
          </a:r>
          <a:endParaRPr lang="fr-FR" sz="4000" b="0" u="none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000" b="0" u="none" kern="1200" dirty="0"/>
            <a:t>Les crédits d’impôt</a:t>
          </a:r>
        </a:p>
      </dsp:txBody>
      <dsp:txXfrm>
        <a:off x="111714" y="111714"/>
        <a:ext cx="9589127" cy="3590756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200" b="1" u="sng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4000" b="0" u="none" kern="1200" dirty="0"/>
            <a:t>Participation des salariés aux fruits de l’expansion (691)</a:t>
          </a:r>
          <a:endParaRPr lang="fr-FR" sz="4000" b="0" u="none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4000" b="0" u="none" kern="1200" dirty="0"/>
            <a:t>Impôts sur les bénéfices et assimilés (695)</a:t>
          </a:r>
          <a:endParaRPr lang="fr-FR" sz="4000" b="0" u="none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000" b="0" u="none" kern="1200" dirty="0"/>
            <a:t>Les crédits d’impôt</a:t>
          </a:r>
        </a:p>
      </dsp:txBody>
      <dsp:txXfrm>
        <a:off x="111714" y="111714"/>
        <a:ext cx="9589127" cy="3590756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/>
            <a:t>- </a:t>
          </a:r>
          <a:r>
            <a:rPr lang="fr-FR" sz="2400" b="0" u="none" kern="1200" dirty="0"/>
            <a:t>Vente de produits finis (701)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Ventes de produits résiduels (703)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Prestations de services (706)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400" b="0" u="none" kern="1200" dirty="0"/>
            <a:t>- </a:t>
          </a:r>
          <a:r>
            <a:rPr lang="x-none" sz="2400" b="0" u="none" kern="1200" dirty="0"/>
            <a:t>Les ventes de marchandises (707)</a:t>
          </a:r>
          <a:endParaRPr lang="fr-FR" sz="2400" b="0" u="none" kern="1200" dirty="0"/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Les produits des activités annexes (708)</a:t>
          </a:r>
        </a:p>
        <a:p>
          <a:pPr marL="0"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</a:t>
          </a:r>
          <a:r>
            <a:rPr lang="x-none" sz="2400" b="0" u="none" kern="1200" dirty="0"/>
            <a:t>R.R.R.A. sur production vendue (7091 à 7096 + 7098)</a:t>
          </a:r>
          <a:endParaRPr lang="fr-FR" sz="2400" b="0" u="none" kern="1200" dirty="0"/>
        </a:p>
      </dsp:txBody>
      <dsp:txXfrm>
        <a:off x="111714" y="111714"/>
        <a:ext cx="9589127" cy="3590756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2800" b="0" u="none" kern="1200" dirty="0"/>
            <a:t>Production stockée (713)</a:t>
          </a:r>
          <a:endParaRPr lang="fr-FR" sz="2800" b="0" u="none" kern="1200" dirty="0"/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kern="1200" dirty="0"/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/>
            <a:t>Il s’agit de la variation de stocks de ce que l’entreprise fabrique et vend =&gt;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b="0" kern="1200" dirty="0"/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b="0" kern="1200" dirty="0"/>
            <a:t>Elle est égale à =&gt; SF - SI 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400" b="0" u="none" kern="1200" dirty="0"/>
        </a:p>
      </dsp:txBody>
      <dsp:txXfrm>
        <a:off x="111714" y="111714"/>
        <a:ext cx="9589127" cy="3590756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3600" b="0" u="none" kern="1200" dirty="0"/>
            <a:t>Production immobilisée (72)</a:t>
          </a:r>
          <a:endParaRPr lang="fr-FR" sz="3600" b="0" u="none" kern="1200" dirty="0"/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kern="1200" dirty="0"/>
            <a:t>Compte utilisé quand une entreprise fabrique, pour elle-même, une immobilisation (un bâtiment, une machine...).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kern="1200" dirty="0"/>
        </a:p>
      </dsp:txBody>
      <dsp:txXfrm>
        <a:off x="111714" y="111714"/>
        <a:ext cx="9589127" cy="3590756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b="0" u="none" kern="1200" dirty="0"/>
            <a:t>74 - Subventions d'exploitation</a:t>
          </a:r>
        </a:p>
        <a:p>
          <a:pPr indent="0">
            <a:spcBef>
              <a:spcPct val="0"/>
            </a:spcBef>
            <a:buNone/>
          </a:pPr>
          <a:r>
            <a:rPr lang="fr-FR" sz="3600" b="0" u="none" kern="1200" dirty="0"/>
            <a:t>75 - Autres produits de gestion courante</a:t>
          </a:r>
          <a:endParaRPr lang="fr-FR" sz="2800" kern="1200" dirty="0"/>
        </a:p>
      </dsp:txBody>
      <dsp:txXfrm>
        <a:off x="111714" y="111714"/>
        <a:ext cx="9589127" cy="35907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0 - Achats (sauf 603)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01 - Achats stockés - Matières premières (et fournitures)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2 - Achats stockés – Autres approvisionnement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3 Variation de stock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4 - Achats d'études et prestations de service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5 - Achats de matériel, équipements et travaux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6 - Achats non stockés de matière et fourniture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7 - Achats de marchandise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solidFill>
                <a:srgbClr val="FFFFFF"/>
              </a:solidFill>
              <a:latin typeface="+mj-lt"/>
              <a:ea typeface="+mj-ea"/>
              <a:cs typeface="+mj-cs"/>
            </a:rPr>
            <a:t>609 - Rabais, remises et ristournes obtenus sur achat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kern="1200" dirty="0"/>
            <a:t>- Reprises sur amortissements, dépréciations, provisions et transferts de charges d’exploitation – 781 / 786 / 787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kern="1200" dirty="0"/>
            <a:t>- Les transferts de charges 791 </a:t>
          </a:r>
          <a:endParaRPr lang="fr-FR" sz="2800" kern="1200" dirty="0"/>
        </a:p>
      </dsp:txBody>
      <dsp:txXfrm>
        <a:off x="111714" y="111714"/>
        <a:ext cx="9589127" cy="3590756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A3DAA9-DB59-4706-A27B-466FAABE7F09}">
      <dsp:nvSpPr>
        <dsp:cNvPr id="0" name=""/>
        <dsp:cNvSpPr/>
      </dsp:nvSpPr>
      <dsp:spPr>
        <a:xfrm>
          <a:off x="2193743" y="608594"/>
          <a:ext cx="1944000" cy="1944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FEC6EC-C75B-4D5F-BF78-3A7B6AC37F8F}">
      <dsp:nvSpPr>
        <dsp:cNvPr id="0" name=""/>
        <dsp:cNvSpPr/>
      </dsp:nvSpPr>
      <dsp:spPr>
        <a:xfrm>
          <a:off x="1005743" y="3022743"/>
          <a:ext cx="432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89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En</a:t>
          </a:r>
          <a:r>
            <a:rPr lang="en-US" sz="3800" kern="1200" dirty="0"/>
            <a:t> tableau =&gt; </a:t>
          </a:r>
          <a:r>
            <a:rPr lang="en-US" sz="3800" kern="1200" dirty="0" err="1"/>
            <a:t>pédago</a:t>
          </a:r>
          <a:endParaRPr lang="en-US" sz="3800" kern="1200" dirty="0"/>
        </a:p>
      </dsp:txBody>
      <dsp:txXfrm>
        <a:off x="1005743" y="3022743"/>
        <a:ext cx="4320000" cy="720000"/>
      </dsp:txXfrm>
    </dsp:sp>
    <dsp:sp modelId="{36F343E4-A148-4814-80CB-87DAED571C9A}">
      <dsp:nvSpPr>
        <dsp:cNvPr id="0" name=""/>
        <dsp:cNvSpPr/>
      </dsp:nvSpPr>
      <dsp:spPr>
        <a:xfrm>
          <a:off x="7269743" y="608594"/>
          <a:ext cx="1944000" cy="1944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798EB1-FC90-4757-94C7-B1833DF5E1FC}">
      <dsp:nvSpPr>
        <dsp:cNvPr id="0" name=""/>
        <dsp:cNvSpPr/>
      </dsp:nvSpPr>
      <dsp:spPr>
        <a:xfrm>
          <a:off x="6081743" y="3022743"/>
          <a:ext cx="432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89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En</a:t>
          </a:r>
          <a:r>
            <a:rPr lang="en-US" sz="3800" kern="1200" dirty="0"/>
            <a:t> </a:t>
          </a:r>
          <a:r>
            <a:rPr lang="en-US" sz="3800" kern="1200" dirty="0" err="1"/>
            <a:t>liste</a:t>
          </a:r>
          <a:r>
            <a:rPr lang="en-US" sz="3800" kern="1200" dirty="0"/>
            <a:t> =&gt; </a:t>
          </a:r>
          <a:r>
            <a:rPr lang="en-US" sz="3800" kern="1200" dirty="0" err="1"/>
            <a:t>liasse</a:t>
          </a:r>
          <a:endParaRPr lang="en-US" sz="3800" kern="1200" dirty="0"/>
        </a:p>
      </dsp:txBody>
      <dsp:txXfrm>
        <a:off x="6081743" y="3022743"/>
        <a:ext cx="4320000" cy="720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 – Service extérieurs 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1 - Sous-traitance générale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2 - Redevances de crédit-bail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3 – Location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4 - Charges locatives et de copropriété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5 - Entretien et réparation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6 - Primes d'assurance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7 – Etudes et recherche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8 – Documentation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19 - RRR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000" kern="1200" dirty="0">
            <a:solidFill>
              <a:srgbClr val="FFFFFF"/>
            </a:solidFill>
            <a:latin typeface="+mj-lt"/>
            <a:ea typeface="+mj-ea"/>
            <a:cs typeface="+mj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1 - Personnel extérieur à l'entreprise</a:t>
          </a:r>
        </a:p>
        <a:p>
          <a:pPr marL="0" lvl="0" indent="0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 - Rémunérations d'intermédiaires et honoraires</a:t>
          </a:r>
        </a:p>
        <a:p>
          <a:pPr marL="0" lvl="0" indent="0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1 - Commissions et courtages sur achats</a:t>
          </a:r>
        </a:p>
        <a:p>
          <a:pPr marL="0" lvl="0" indent="0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2 6226 - Honoraires</a:t>
          </a:r>
        </a:p>
        <a:p>
          <a:pPr marL="0" lvl="0" indent="0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7 - Frais d'actes et de contentieux</a:t>
          </a:r>
        </a:p>
        <a:p>
          <a:pPr marL="0" lvl="0" indent="0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>
              <a:latin typeface="Arial" panose="020B0604020202020204" pitchFamily="34" charset="0"/>
              <a:cs typeface="Arial" panose="020B0604020202020204" pitchFamily="34" charset="0"/>
            </a:rPr>
            <a:t>6228 - Divers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3 - Publicité, publications, relations publique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31 - Annonces et insertion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38 - Divers (pourboires, dons courants, …)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4 - Transports de biens et transports collectifs du personnel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 - Déplacements, missions et réception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1 - Voyages et déplacement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5 - Frais de déménagemen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6 - Mission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257 – Réception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627 – </a:t>
          </a:r>
          <a:r>
            <a:rPr lang="fr-FR" sz="1800" kern="1200"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rais bancaires</a:t>
          </a:r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 – Impôts, taxes et versements assimilé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11 - Taxe sur les salaire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12 - Taxe d'apprentissage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13 - Participation des employeurs à la formation professionnelle continue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11 - Contribution économique territoriale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12 - Taxes foncière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14 - Taxe sur les véhicules des société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3 - Impôts indirect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4 - Droits d'enregistrement et de timbre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41 - Droits de mutation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358 - Autres droits</a:t>
          </a:r>
        </a:p>
        <a:p>
          <a:pPr marL="0" lvl="0" indent="0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700" kern="1200" dirty="0"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96831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1 - Rémunérations du personnel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12 - Congés payé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13 - Primes et gratification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14 - Indemnités et avantages diver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4 - Rémunération du travail de l'exploitan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 - Charges de sécurité sociale et de prévoyanc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1 - Cotisations à l'URSSAF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2 - Cotisations aux mutuelle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3 - Cotisations aux caisses de retrait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58 - Cotisations aux autres organismes sociaux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latin typeface="Arial" panose="020B0604020202020204" pitchFamily="34" charset="0"/>
              <a:cs typeface="Arial" panose="020B0604020202020204" pitchFamily="34" charset="0"/>
            </a:rPr>
            <a:t>646 - Cotisations sociales personnelles de l'exploitant</a:t>
          </a:r>
        </a:p>
      </dsp:txBody>
      <dsp:txXfrm>
        <a:off x="116228" y="116228"/>
        <a:ext cx="9580099" cy="373586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b="0" kern="1200" dirty="0"/>
            <a:t>- Redevances payées (651).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b="0" kern="1200" dirty="0"/>
            <a:t>- Jetons de présence (653).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b="0" kern="1200" dirty="0"/>
            <a:t>- Pertes sur créances irrécouvrables (654</a:t>
          </a:r>
          <a:r>
            <a:rPr lang="fr-FR" sz="3600" kern="1200" dirty="0"/>
            <a:t>).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1714" y="111714"/>
        <a:ext cx="9589127" cy="359075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84562-8FA5-49BC-8F2E-C4E3ABC0F302}">
      <dsp:nvSpPr>
        <dsp:cNvPr id="0" name=""/>
        <dsp:cNvSpPr/>
      </dsp:nvSpPr>
      <dsp:spPr>
        <a:xfrm>
          <a:off x="0" y="0"/>
          <a:ext cx="9812555" cy="38141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200" b="1" u="sng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2400" b="0" u="none" kern="1200" dirty="0"/>
            <a:t>Intérêts et charges assimilés (661, 665)</a:t>
          </a:r>
          <a:endParaRPr lang="fr-FR" sz="2400" b="0" u="none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Intérêts des emprunts et dettes contractés par l’entreprise (661).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Escomptes accordés (665).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</a:t>
          </a:r>
          <a:r>
            <a:rPr lang="x-none" sz="2400" b="0" u="none" kern="1200" dirty="0"/>
            <a:t>Différences négatives de change (666)</a:t>
          </a:r>
          <a:endParaRPr lang="fr-FR" sz="2400" b="0" u="none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0" u="none" kern="1200" dirty="0"/>
            <a:t>- </a:t>
          </a:r>
          <a:r>
            <a:rPr lang="x-none" sz="2400" b="0" u="none" kern="1200" dirty="0"/>
            <a:t>Charges nettes sur cession de Valeurs Mobilières de Placement (667)</a:t>
          </a:r>
          <a:endParaRPr lang="fr-FR" sz="2400" b="0" u="none" kern="1200" dirty="0"/>
        </a:p>
      </dsp:txBody>
      <dsp:txXfrm>
        <a:off x="111714" y="111714"/>
        <a:ext cx="9589127" cy="35907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74E31-4102-4DAB-AA30-205A8BC854D4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99E81F-EEE6-4E3A-AE16-C0BE10FF16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5402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67702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27208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361393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42364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96787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05424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15396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781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74570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91224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6264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46DE6-3336-457D-A091-FA20AC1C53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8811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876927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98771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40029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79454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284893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619336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864791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2342709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313758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721496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765936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51295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4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253378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4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22840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46DE6-3336-457D-A091-FA20AC1C53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46158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46DE6-3336-457D-A091-FA20AC1C53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552197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4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9007293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4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872188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5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9860402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5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399615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5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8335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248755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20726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41985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233805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390118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40983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7BD57D-84CD-4DA6-ACCF-8CEC063D82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D19402C-4986-4F03-B149-B59478CBC5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6A17A5-4404-44D9-B645-2177629EB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36A295-F235-411B-8653-78D5CFEBA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4D0148C-2377-437A-9B96-C1D01D45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417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CF77D9-A2E2-47AF-9DA6-3E88E50ED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BF1DE80-A284-4C12-8998-96E09ECD2B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39B5A0B-FBB5-4756-860F-875AB0CB7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42CC808-89A4-47E4-B295-3F9116F82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55BD20-72DC-487C-8B40-787775EBC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5480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2353EA2-D366-4F02-B08A-5FEED95B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4DA6CD5-251E-4DFA-B380-5EB2130294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85B917B-2B60-4988-B84F-D3AFCB1DD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FB53DFA-3E34-4A01-A1E8-6D7B74457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A9D7E8-2346-4B4B-9CF9-1C67D666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22623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3914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544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842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77953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6361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7618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242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070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D533BA-64DD-46E7-AC37-8284A1B92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5FA018E-EDA2-4960-8996-9D0F0B371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E258E7-ED34-4740-9A51-3EF636548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E4DA7DE-70E6-4FC4-AEB8-2B4A91028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4F055B-A12A-40C8-913E-87AC2D74D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42643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2949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021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3167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A53301-5DB9-4753-ABD4-856DD5147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6065A32-834F-432D-A0D3-7ECBC848C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16BCDE-E203-48ED-B45F-9D93DC3EF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44B27C3-8E90-44EF-B2A0-1D4A9700A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5169281-95B4-43D4-BD98-2009AB077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6540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3EE1FC-395B-4804-BCED-98B869CA3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D30819D-33A8-4726-B505-831ADB90F9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727D8D7-37DF-475A-8F8B-107336CE7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26DA209-39AA-44B8-BA06-71668A727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E701A22-5ACC-4505-9A5B-EFFCF1BEE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5BF9EC-FDAE-4527-A964-C32D4D885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2459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377DA-C3AC-4A42-9312-85C3B28A1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ECFD34-CCC4-4C10-95D2-1DCC3D8755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248D42-AEE2-48BB-B8A6-37B3BF1EC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FF54CA6-B4B3-4EBE-BAA9-8A083AD04B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B67F1B9-3210-4603-A593-82AA147797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4FE2936-F0AC-4E86-9BB9-6C88937F1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4B4DA8C-4CAE-47BB-B5D8-D3CD8CA08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F733564-54DF-4A81-A1E0-E16BDFCCC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560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106E18-40BE-4CE6-A1DE-51E2FCB71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9E90AC-A901-4B3B-8F1A-62F80383E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B69960F-910E-441F-9234-4EFA03174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DEAD386-BAAD-4887-AEC1-ACEC7AC75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0842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EA3A60B-5261-4319-9606-C7A19FE79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CD7E47D-E0D5-4EA3-A174-877281D1E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BBA8F0E-BF11-4E0E-B6B3-0C4D3ED9A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423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D5B282-2CDC-43BA-91BF-BB825DDC3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B2B1462-82C2-41F9-B928-24CD0E058B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8E6443F-D9C8-4B0A-A85E-AFB98C178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58546B2-B4AD-4632-A7F6-E278F595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95E8C30-5617-4C3D-86F5-1BB6370D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698214D-67A4-4095-A830-2541FC31F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1998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9969A8-DB1E-4329-86AA-AAC523FDA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7A97373-2753-4E91-A499-97DCFA713F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E0A5C63-7589-47D3-A6A8-2BAA1AA21C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658AF3C-8B47-4456-B292-94827E8D0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A94149C-1965-48BE-A21B-231EFD479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75B3F0F-B380-4E1B-AC33-1610717B8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553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B24DAE3-D939-4C4D-88F9-662ED8E02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0D21944-0B8F-4C3A-9BCA-D8EF26A831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B3C1B60-F7FD-45E2-AFE6-969B7E482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AAC662-8F7E-46FF-BF45-54D2733F0C8C}" type="datetimeFigureOut">
              <a:rPr lang="fr-FR" smtClean="0"/>
              <a:t>12/03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66FD234-03EA-4C46-8B22-CFC6DD230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10ED5CD-B777-437E-B0F8-CFA32F5B3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181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02334-7E8B-4320-A1E2-4B05AC15A670}" type="datetimeFigureOut">
              <a:rPr lang="fr-FR" smtClean="0"/>
              <a:pPr/>
              <a:t>12/03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7264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3.xml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12" Type="http://schemas.microsoft.com/office/2007/relationships/diagramDrawing" Target="../diagrams/drawing13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2.xml"/><Relationship Id="rId11" Type="http://schemas.openxmlformats.org/officeDocument/2006/relationships/diagramColors" Target="../diagrams/colors13.xml"/><Relationship Id="rId5" Type="http://schemas.openxmlformats.org/officeDocument/2006/relationships/diagramQuickStyle" Target="../diagrams/quickStyle12.xml"/><Relationship Id="rId10" Type="http://schemas.openxmlformats.org/officeDocument/2006/relationships/diagramQuickStyle" Target="../diagrams/quickStyle13.xml"/><Relationship Id="rId4" Type="http://schemas.openxmlformats.org/officeDocument/2006/relationships/diagramLayout" Target="../diagrams/layout12.xml"/><Relationship Id="rId9" Type="http://schemas.openxmlformats.org/officeDocument/2006/relationships/diagramLayout" Target="../diagrams/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4.xml"/><Relationship Id="rId7" Type="http://schemas.microsoft.com/office/2007/relationships/diagramDrawing" Target="../diagrams/drawing14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4.xml"/><Relationship Id="rId5" Type="http://schemas.openxmlformats.org/officeDocument/2006/relationships/diagramQuickStyle" Target="../diagrams/quickStyle14.xml"/><Relationship Id="rId4" Type="http://schemas.openxmlformats.org/officeDocument/2006/relationships/diagramLayout" Target="../diagrams/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5.xml"/><Relationship Id="rId5" Type="http://schemas.openxmlformats.org/officeDocument/2006/relationships/diagramQuickStyle" Target="../diagrams/quickStyle15.xml"/><Relationship Id="rId4" Type="http://schemas.openxmlformats.org/officeDocument/2006/relationships/diagramLayout" Target="../diagrams/layout1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6.xml"/><Relationship Id="rId7" Type="http://schemas.microsoft.com/office/2007/relationships/diagramDrawing" Target="../diagrams/drawing16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6.xml"/><Relationship Id="rId5" Type="http://schemas.openxmlformats.org/officeDocument/2006/relationships/diagramQuickStyle" Target="../diagrams/quickStyle16.xml"/><Relationship Id="rId4" Type="http://schemas.openxmlformats.org/officeDocument/2006/relationships/diagramLayout" Target="../diagrams/layout1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8.xml"/><Relationship Id="rId5" Type="http://schemas.openxmlformats.org/officeDocument/2006/relationships/diagramQuickStyle" Target="../diagrams/quickStyle18.xml"/><Relationship Id="rId4" Type="http://schemas.openxmlformats.org/officeDocument/2006/relationships/diagramLayout" Target="../diagrams/layout1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9.xml"/><Relationship Id="rId5" Type="http://schemas.openxmlformats.org/officeDocument/2006/relationships/diagramQuickStyle" Target="../diagrams/quickStyle19.xml"/><Relationship Id="rId4" Type="http://schemas.openxmlformats.org/officeDocument/2006/relationships/diagramLayout" Target="../diagrams/layout1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0.xml"/><Relationship Id="rId7" Type="http://schemas.microsoft.com/office/2007/relationships/diagramDrawing" Target="../diagrams/drawing20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0.xml"/><Relationship Id="rId5" Type="http://schemas.openxmlformats.org/officeDocument/2006/relationships/diagramQuickStyle" Target="../diagrams/quickStyle20.xml"/><Relationship Id="rId4" Type="http://schemas.openxmlformats.org/officeDocument/2006/relationships/diagramLayout" Target="../diagrams/layout2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pixnio.com/fr/nature-paysages/des-plages/sable-mer-marine-plage-jour-horizon-vagues" TargetMode="Externa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pixnio.com/fr/nature-paysages/des-plages/sable-mer-marine-plage-jour-horizon-vagues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hyperlink" Target="https://espritscience.blogspot.com/2008/01/du-rapport-des-temps.html" TargetMode="External"/><Relationship Id="rId4" Type="http://schemas.openxmlformats.org/officeDocument/2006/relationships/image" Target="../media/image15.jp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4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hyperlink" Target="https://espritscience.blogspot.com/2008/01/du-rapport-des-temps.html" TargetMode="External"/><Relationship Id="rId4" Type="http://schemas.openxmlformats.org/officeDocument/2006/relationships/image" Target="../media/image1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hyperlink" Target="https://revuefiduciaire.grouperf.com/lien_bofip/?base=BOFiP&amp;mode=article&amp;orig=REVUE_RF_FH&amp;sp=/publications_bofip/BOFiP/documents/Contenu/Commentaire/BIC/1831-PGP/2012-09-12/data.html" TargetMode="Externa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hyperlink" Target="https://revuefiduciaire.grouperf.com/lien_bofip/?base=BOFiP&amp;mode=article&amp;orig=REVUE_RF_FH&amp;sp=/publications_bofip/BOFiP/documents/Contenu/Commentaire/BIC/1841-PGP/2014-10-13/data.html#60" TargetMode="Externa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https://revuefiduciaire.grouperf.com/lien_spad/?base=LEGI&amp;orig=REVUE_RF_FH&amp;code=LEGITEXT000005634379&amp;numero=R123-181&amp;idspad=LEGIARTI000030927431" TargetMode="Externa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09AF2F-022D-42E7-9EE8-B11BCE898D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64614" y="1783959"/>
            <a:ext cx="4087306" cy="2889114"/>
          </a:xfrm>
        </p:spPr>
        <p:txBody>
          <a:bodyPr anchor="b">
            <a:normAutofit fontScale="90000"/>
          </a:bodyPr>
          <a:lstStyle/>
          <a:p>
            <a:pPr algn="l"/>
            <a:r>
              <a:rPr lang="fr-FR" sz="5400" dirty="0">
                <a:latin typeface="Arial" panose="020B0604020202020204" pitchFamily="34" charset="0"/>
                <a:cs typeface="Arial" panose="020B0604020202020204" pitchFamily="34" charset="0"/>
              </a:rPr>
              <a:t>Université de Montpellier</a:t>
            </a:r>
            <a:br>
              <a:rPr lang="fr-FR" sz="5400" dirty="0"/>
            </a:br>
            <a:endParaRPr lang="fr-FR" sz="540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349F9F-31B4-41DC-B4DB-C097467B5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4612" y="4750893"/>
            <a:ext cx="4489965" cy="1147863"/>
          </a:xfrm>
        </p:spPr>
        <p:txBody>
          <a:bodyPr anchor="t">
            <a:normAutofit fontScale="70000" lnSpcReduction="20000"/>
          </a:bodyPr>
          <a:lstStyle/>
          <a:p>
            <a:pPr algn="l"/>
            <a:endParaRPr lang="fr-FR" sz="2000" dirty="0"/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Cours de comptabilité N°3</a:t>
            </a:r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04 mars 2021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 descr="Bibliothèque publique floue abstraite avec des étagères à livres">
            <a:extLst>
              <a:ext uri="{FF2B5EF4-FFF2-40B4-BE49-F238E27FC236}">
                <a16:creationId xmlns:a16="http://schemas.microsoft.com/office/drawing/2014/main" id="{7BB6D41E-7376-4805-B0B6-C72AFA381B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25" r="26964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8639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8317208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Distinction charges / </a:t>
            </a:r>
            <a:r>
              <a:rPr lang="en-US" dirty="0" err="1"/>
              <a:t>immobilisations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7946888" y="10"/>
            <a:ext cx="4243589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ZoneTexte 13">
            <a:extLst>
              <a:ext uri="{FF2B5EF4-FFF2-40B4-BE49-F238E27FC236}">
                <a16:creationId xmlns:a16="http://schemas.microsoft.com/office/drawing/2014/main" id="{81D349E7-2792-4173-B922-B597DE13B126}"/>
              </a:ext>
            </a:extLst>
          </p:cNvPr>
          <p:cNvSpPr txBox="1"/>
          <p:nvPr/>
        </p:nvSpPr>
        <p:spPr>
          <a:xfrm>
            <a:off x="253232" y="2764609"/>
            <a:ext cx="7585751" cy="40626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2400" b="0" i="0" dirty="0">
                <a:solidFill>
                  <a:srgbClr val="71C661"/>
                </a:solidFill>
                <a:effectLst/>
                <a:latin typeface="Open Sans"/>
              </a:rPr>
              <a:t>Critères comptables : </a:t>
            </a:r>
            <a:r>
              <a:rPr lang="fr-FR" sz="2400" b="0" dirty="0">
                <a:effectLst/>
                <a:latin typeface="Open Sans"/>
              </a:rPr>
              <a:t>Quatre critères cumulatifs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Un actif doit être constaté lorsque les quatre conditions suivantes sont simultanément réunies (PCG art. 211-1 à 211-4) :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- l’actif est identifiable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- il a une valeur économique positive, traduite par les avantages économiques futurs attendus par l’entreprise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- il est contrôlé par l’entreprise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- il peut être évalué avec une fiabilité suffisante</a:t>
            </a:r>
          </a:p>
          <a:p>
            <a:pPr marL="266700" algn="just"/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2821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4614" y="1783959"/>
            <a:ext cx="4087306" cy="2889114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400" b="0" i="0" dirty="0">
                <a:effectLst/>
              </a:rPr>
              <a:t>Le </a:t>
            </a:r>
            <a:r>
              <a:rPr lang="en-US" sz="3400" b="0" i="0" dirty="0" err="1">
                <a:effectLst/>
              </a:rPr>
              <a:t>compte</a:t>
            </a:r>
            <a:r>
              <a:rPr lang="en-US" sz="3400" b="0" i="0" dirty="0">
                <a:effectLst/>
              </a:rPr>
              <a:t> de </a:t>
            </a:r>
            <a:r>
              <a:rPr lang="en-US" sz="3400" b="0" i="0" dirty="0" err="1">
                <a:effectLst/>
              </a:rPr>
              <a:t>résultat</a:t>
            </a:r>
            <a:endParaRPr lang="en-US" sz="3400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6" name="Picture 35" descr="Calculatrice et bloc-notes">
            <a:extLst>
              <a:ext uri="{FF2B5EF4-FFF2-40B4-BE49-F238E27FC236}">
                <a16:creationId xmlns:a16="http://schemas.microsoft.com/office/drawing/2014/main" id="{E19A54F0-B20E-4F8C-9128-4269DFE89C5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658" r="932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9900381-058A-49D1-91B1-63D7DD95F910}"/>
              </a:ext>
            </a:extLst>
          </p:cNvPr>
          <p:cNvSpPr/>
          <p:nvPr/>
        </p:nvSpPr>
        <p:spPr>
          <a:xfrm>
            <a:off x="1179226" y="1591878"/>
            <a:ext cx="10355636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endParaRPr lang="fr-FR" sz="2400"/>
          </a:p>
          <a:p>
            <a:pPr>
              <a:spcAft>
                <a:spcPts val="600"/>
              </a:spcAft>
            </a:pPr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8435763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7E773EB-1EC1-4E49-9DE2-E6F4604972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0391"/>
            <a:ext cx="12192000" cy="1943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5455007-8AF7-4CFF-8B0D-381E697B6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78" y="320675"/>
            <a:ext cx="11407487" cy="1325563"/>
          </a:xfrm>
        </p:spPr>
        <p:txBody>
          <a:bodyPr>
            <a:normAutofit/>
          </a:bodyPr>
          <a:lstStyle/>
          <a:p>
            <a:pPr lvl="0"/>
            <a:r>
              <a:rPr lang="fr-FR" sz="5400" dirty="0"/>
              <a:t>Présentation du CR </a:t>
            </a:r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0C899C7D-CFDA-4D32-B2E9-07B40C3BB1B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0603394"/>
              </p:ext>
            </p:extLst>
          </p:nvPr>
        </p:nvGraphicFramePr>
        <p:xfrm>
          <a:off x="391379" y="1976293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499586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642374E-6CC0-4655-B9AB-1F0321522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62339"/>
          </a:xfrm>
        </p:spPr>
        <p:txBody>
          <a:bodyPr/>
          <a:lstStyle/>
          <a:p>
            <a:r>
              <a:rPr lang="fr-FR" dirty="0"/>
              <a:t>Présentation en tableau =&gt; SIG ?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CC3EDAFB-F998-43F9-B64D-6ABC31FC68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93854186"/>
              </p:ext>
            </p:extLst>
          </p:nvPr>
        </p:nvGraphicFramePr>
        <p:xfrm>
          <a:off x="230820" y="1553593"/>
          <a:ext cx="11122982" cy="5051393"/>
        </p:xfrm>
        <a:graphic>
          <a:graphicData uri="http://schemas.openxmlformats.org/drawingml/2006/table">
            <a:tbl>
              <a:tblPr/>
              <a:tblGrid>
                <a:gridCol w="3566686">
                  <a:extLst>
                    <a:ext uri="{9D8B030D-6E8A-4147-A177-3AD203B41FA5}">
                      <a16:colId xmlns:a16="http://schemas.microsoft.com/office/drawing/2014/main" val="3805071471"/>
                    </a:ext>
                  </a:extLst>
                </a:gridCol>
                <a:gridCol w="1019567">
                  <a:extLst>
                    <a:ext uri="{9D8B030D-6E8A-4147-A177-3AD203B41FA5}">
                      <a16:colId xmlns:a16="http://schemas.microsoft.com/office/drawing/2014/main" val="2106065104"/>
                    </a:ext>
                  </a:extLst>
                </a:gridCol>
                <a:gridCol w="1019567">
                  <a:extLst>
                    <a:ext uri="{9D8B030D-6E8A-4147-A177-3AD203B41FA5}">
                      <a16:colId xmlns:a16="http://schemas.microsoft.com/office/drawing/2014/main" val="3260049767"/>
                    </a:ext>
                  </a:extLst>
                </a:gridCol>
                <a:gridCol w="3567884">
                  <a:extLst>
                    <a:ext uri="{9D8B030D-6E8A-4147-A177-3AD203B41FA5}">
                      <a16:colId xmlns:a16="http://schemas.microsoft.com/office/drawing/2014/main" val="2818399806"/>
                    </a:ext>
                  </a:extLst>
                </a:gridCol>
                <a:gridCol w="1019567">
                  <a:extLst>
                    <a:ext uri="{9D8B030D-6E8A-4147-A177-3AD203B41FA5}">
                      <a16:colId xmlns:a16="http://schemas.microsoft.com/office/drawing/2014/main" val="3214926770"/>
                    </a:ext>
                  </a:extLst>
                </a:gridCol>
                <a:gridCol w="929711">
                  <a:extLst>
                    <a:ext uri="{9D8B030D-6E8A-4147-A177-3AD203B41FA5}">
                      <a16:colId xmlns:a16="http://schemas.microsoft.com/office/drawing/2014/main" val="371761532"/>
                    </a:ext>
                  </a:extLst>
                </a:gridCol>
              </a:tblGrid>
              <a:tr h="540636">
                <a:tc rowSpan="2"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rge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ntan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it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ntan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4802312"/>
                  </a:ext>
                </a:extLst>
              </a:tr>
              <a:tr h="47146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 – 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 – 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8212241"/>
                  </a:ext>
                </a:extLst>
              </a:tr>
              <a:tr h="2446513">
                <a:tc>
                  <a:txBody>
                    <a:bodyPr/>
                    <a:lstStyle/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rges d'exploitation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rges financière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rges exceptionnelle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000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00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0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its d'exploitation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its financier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its exceptionnel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5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0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4741597"/>
                  </a:ext>
                </a:extLst>
              </a:tr>
              <a:tr h="591606"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charges (I)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4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5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produits (I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0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5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5346308"/>
                  </a:ext>
                </a:extLst>
              </a:tr>
              <a:tr h="496948">
                <a:tc>
                  <a:txBody>
                    <a:bodyPr/>
                    <a:lstStyle/>
                    <a:p>
                      <a:pPr algn="r"/>
                      <a:r>
                        <a:rPr lang="fr-FR" sz="800" b="1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énéfice (II)</a:t>
                      </a:r>
                      <a:endParaRPr lang="fr-FR" sz="9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fr-FR" sz="9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erte (II)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00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401148"/>
                  </a:ext>
                </a:extLst>
              </a:tr>
              <a:tr h="504229">
                <a:tc>
                  <a:txBody>
                    <a:bodyPr/>
                    <a:lstStyle/>
                    <a:p>
                      <a:pPr algn="r"/>
                      <a:r>
                        <a:rPr lang="fr-FR" sz="800" b="1" dirty="0">
                          <a:effectLst/>
                          <a:highlight>
                            <a:srgbClr val="00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général (I + II)</a:t>
                      </a:r>
                      <a:endParaRPr lang="fr-FR" sz="900" dirty="0">
                        <a:effectLst/>
                        <a:highlight>
                          <a:srgbClr val="00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 dirty="0">
                          <a:effectLst/>
                          <a:highlight>
                            <a:srgbClr val="00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000</a:t>
                      </a:r>
                      <a:endParaRPr lang="fr-FR" sz="900" dirty="0">
                        <a:effectLst/>
                        <a:highlight>
                          <a:srgbClr val="00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 dirty="0">
                          <a:effectLst/>
                          <a:highlight>
                            <a:srgbClr val="00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500</a:t>
                      </a:r>
                      <a:endParaRPr lang="fr-FR" sz="900" dirty="0">
                        <a:effectLst/>
                        <a:highlight>
                          <a:srgbClr val="00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 dirty="0">
                          <a:effectLst/>
                          <a:highlight>
                            <a:srgbClr val="00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général (I + II)</a:t>
                      </a:r>
                      <a:endParaRPr lang="fr-FR" sz="900" dirty="0">
                        <a:effectLst/>
                        <a:highlight>
                          <a:srgbClr val="00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 dirty="0">
                          <a:effectLst/>
                          <a:highlight>
                            <a:srgbClr val="00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000</a:t>
                      </a:r>
                      <a:endParaRPr lang="fr-FR" sz="900" dirty="0">
                        <a:effectLst/>
                        <a:highlight>
                          <a:srgbClr val="00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 dirty="0">
                          <a:effectLst/>
                          <a:highlight>
                            <a:srgbClr val="00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500</a:t>
                      </a:r>
                      <a:endParaRPr lang="fr-FR" sz="900" dirty="0">
                        <a:effectLst/>
                        <a:highlight>
                          <a:srgbClr val="00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76440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9694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du contenu 5" descr="Une image contenant table&#10;&#10;Description générée automatiquement">
            <a:extLst>
              <a:ext uri="{FF2B5EF4-FFF2-40B4-BE49-F238E27FC236}">
                <a16:creationId xmlns:a16="http://schemas.microsoft.com/office/drawing/2014/main" id="{2D812DF3-F77A-4D7C-A90B-91F94A0E28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0095" y="134350"/>
            <a:ext cx="4784135" cy="6569817"/>
          </a:xfrm>
        </p:spPr>
      </p:pic>
    </p:spTree>
    <p:extLst>
      <p:ext uri="{BB962C8B-B14F-4D97-AF65-F5344CB8AC3E}">
        <p14:creationId xmlns:p14="http://schemas.microsoft.com/office/powerpoint/2010/main" val="25025574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id="{2D812DF3-F77A-4D7C-A90B-91F94A0E28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39695" y="194520"/>
            <a:ext cx="8657616" cy="6596277"/>
          </a:xfrm>
        </p:spPr>
      </p:pic>
    </p:spTree>
    <p:extLst>
      <p:ext uri="{BB962C8B-B14F-4D97-AF65-F5344CB8AC3E}">
        <p14:creationId xmlns:p14="http://schemas.microsoft.com/office/powerpoint/2010/main" val="17294448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id="{2D812DF3-F77A-4D7C-A90B-91F94A0E28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1677" y="126904"/>
            <a:ext cx="9085634" cy="6428659"/>
          </a:xfrm>
        </p:spPr>
      </p:pic>
    </p:spTree>
    <p:extLst>
      <p:ext uri="{BB962C8B-B14F-4D97-AF65-F5344CB8AC3E}">
        <p14:creationId xmlns:p14="http://schemas.microsoft.com/office/powerpoint/2010/main" val="41836066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A5F1A0-ED54-417E-A489-67EA9FBAF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Soldes intermédiaires de gestion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953F4503-12A7-48E0-990E-8A4F7DA812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73486821"/>
              </p:ext>
            </p:extLst>
          </p:nvPr>
        </p:nvGraphicFramePr>
        <p:xfrm>
          <a:off x="419450" y="1501629"/>
          <a:ext cx="11333526" cy="5117274"/>
        </p:xfrm>
        <a:graphic>
          <a:graphicData uri="http://schemas.openxmlformats.org/drawingml/2006/table">
            <a:tbl>
              <a:tblPr/>
              <a:tblGrid>
                <a:gridCol w="3189438">
                  <a:extLst>
                    <a:ext uri="{9D8B030D-6E8A-4147-A177-3AD203B41FA5}">
                      <a16:colId xmlns:a16="http://schemas.microsoft.com/office/drawing/2014/main" val="797907487"/>
                    </a:ext>
                  </a:extLst>
                </a:gridCol>
                <a:gridCol w="1036838">
                  <a:extLst>
                    <a:ext uri="{9D8B030D-6E8A-4147-A177-3AD203B41FA5}">
                      <a16:colId xmlns:a16="http://schemas.microsoft.com/office/drawing/2014/main" val="3486920259"/>
                    </a:ext>
                  </a:extLst>
                </a:gridCol>
                <a:gridCol w="3249486">
                  <a:extLst>
                    <a:ext uri="{9D8B030D-6E8A-4147-A177-3AD203B41FA5}">
                      <a16:colId xmlns:a16="http://schemas.microsoft.com/office/drawing/2014/main" val="3212106793"/>
                    </a:ext>
                  </a:extLst>
                </a:gridCol>
                <a:gridCol w="1036838">
                  <a:extLst>
                    <a:ext uri="{9D8B030D-6E8A-4147-A177-3AD203B41FA5}">
                      <a16:colId xmlns:a16="http://schemas.microsoft.com/office/drawing/2014/main" val="3514474412"/>
                    </a:ext>
                  </a:extLst>
                </a:gridCol>
                <a:gridCol w="1775357">
                  <a:extLst>
                    <a:ext uri="{9D8B030D-6E8A-4147-A177-3AD203B41FA5}">
                      <a16:colId xmlns:a16="http://schemas.microsoft.com/office/drawing/2014/main" val="1891976192"/>
                    </a:ext>
                  </a:extLst>
                </a:gridCol>
                <a:gridCol w="1045569">
                  <a:extLst>
                    <a:ext uri="{9D8B030D-6E8A-4147-A177-3AD203B41FA5}">
                      <a16:colId xmlns:a16="http://schemas.microsoft.com/office/drawing/2014/main" val="3985586063"/>
                    </a:ext>
                  </a:extLst>
                </a:gridCol>
              </a:tblGrid>
              <a:tr h="1763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uit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harge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fr-FR" sz="800" b="1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oldes</a:t>
                      </a:r>
                      <a:endParaRPr lang="fr-FR" sz="9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2737291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Ventes de marchandise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Coût d'achat des marchandises vendues </a:t>
                      </a: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Marge commerciale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4396892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roduction vendue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Déstockage de production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 Production de l'exercice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4462854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roduction stockée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2333065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roduction immobilisée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6603286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2071152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Marge commerciale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Consommation de l'exercice en provenance des tier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fr-FR" sz="800" b="1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aleur ajoutée </a:t>
                      </a:r>
                      <a:endParaRPr lang="fr-FR" sz="9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9817300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roduction de l'exercice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18253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060895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Valeur ajoutée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I.T.V.A 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fr-FR" sz="800" b="1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.B.E (ou I.B.E) </a:t>
                      </a:r>
                      <a:endParaRPr lang="fr-FR" sz="9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8050321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Subvention d'exploitation 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Charges de personnel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8956425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4296717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E.B.E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I.B.E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fr-FR" sz="800" b="1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ésultat d'exploitation </a:t>
                      </a:r>
                      <a:endParaRPr lang="fr-FR" sz="9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567607"/>
                  </a:ext>
                </a:extLst>
              </a:tr>
              <a:tr h="29527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prises sur amortissements, dépréciations, provisions et transferts de charges d'exploitation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Dotations amortissements, dépréciations, provisions d'exploitation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6868370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Autres produit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Autres charge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1069717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239122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Résultat d'exploitation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Résultat d'exploitation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R.C.A.I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4887639"/>
                  </a:ext>
                </a:extLst>
              </a:tr>
              <a:tr h="29527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uote-part de résultat sur opération faite en commun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uote-part de résultat sur opération faite en commun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9116317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roduits financiers 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Charges financière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6978919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333105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roduits exceptionnel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Charges exceptionnelles 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Résultat exceptionnel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4045840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R.C.A.I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R.C.A.I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5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fr-FR" sz="800" b="1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ésultat de l'exercice </a:t>
                      </a:r>
                      <a:endParaRPr lang="fr-FR" sz="9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0402636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Résultat exceptionnel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Résultat exceptionnel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4201410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articipation des salarié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816408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Impôt sur les bénéfice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8376205"/>
                  </a:ext>
                </a:extLst>
              </a:tr>
              <a:tr h="17631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To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8751992"/>
                  </a:ext>
                </a:extLst>
              </a:tr>
              <a:tr h="29527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.C.E.A 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V.C.E.A.C 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lus ou moins value</a:t>
                      </a:r>
                      <a:b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ur cession d'actif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fr-FR" sz="800" b="1" dirty="0">
                          <a:effectLst/>
                          <a:latin typeface="Verdana" panose="020B0604030504040204" pitchFamily="34" charset="0"/>
                          <a:ea typeface="Arial Unicode MS"/>
                          <a:cs typeface="Arial" panose="020B0604020202020204" pitchFamily="34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77" marR="9077" marT="907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88332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54525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43BF38CE-8118-4C7E-9E41-9051A9D3ED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4205" y="193746"/>
            <a:ext cx="5566795" cy="639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0054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4614" y="1783959"/>
            <a:ext cx="4087306" cy="2889114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400" b="0" i="0" dirty="0">
                <a:effectLst/>
              </a:rPr>
              <a:t>Le </a:t>
            </a:r>
            <a:r>
              <a:rPr lang="en-US" sz="3400" b="0" i="0" dirty="0" err="1">
                <a:effectLst/>
              </a:rPr>
              <a:t>compte</a:t>
            </a:r>
            <a:r>
              <a:rPr lang="en-US" sz="3400" b="0" i="0" dirty="0">
                <a:effectLst/>
              </a:rPr>
              <a:t> de </a:t>
            </a:r>
            <a:r>
              <a:rPr lang="en-US" sz="3400" b="0" i="0" dirty="0" err="1">
                <a:effectLst/>
              </a:rPr>
              <a:t>résultat</a:t>
            </a:r>
            <a:r>
              <a:rPr lang="en-US" sz="3400" b="0" i="0" dirty="0">
                <a:effectLst/>
              </a:rPr>
              <a:t> </a:t>
            </a:r>
            <a:r>
              <a:rPr lang="en-US" sz="3400" b="0" i="0" dirty="0" err="1">
                <a:effectLst/>
              </a:rPr>
              <a:t>en</a:t>
            </a:r>
            <a:r>
              <a:rPr lang="en-US" sz="3400" b="0" i="0" dirty="0">
                <a:effectLst/>
              </a:rPr>
              <a:t> </a:t>
            </a:r>
            <a:r>
              <a:rPr lang="en-US" sz="3400" b="0" i="0" dirty="0" err="1">
                <a:effectLst/>
              </a:rPr>
              <a:t>détail</a:t>
            </a:r>
            <a:endParaRPr lang="en-US" sz="3400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6" name="Picture 35" descr="Calculatrice et bloc-notes">
            <a:extLst>
              <a:ext uri="{FF2B5EF4-FFF2-40B4-BE49-F238E27FC236}">
                <a16:creationId xmlns:a16="http://schemas.microsoft.com/office/drawing/2014/main" id="{E19A54F0-B20E-4F8C-9128-4269DFE89C5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658" r="932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9900381-058A-49D1-91B1-63D7DD95F910}"/>
              </a:ext>
            </a:extLst>
          </p:cNvPr>
          <p:cNvSpPr/>
          <p:nvPr/>
        </p:nvSpPr>
        <p:spPr>
          <a:xfrm>
            <a:off x="1179226" y="1591878"/>
            <a:ext cx="10355636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endParaRPr lang="fr-FR" sz="2400"/>
          </a:p>
          <a:p>
            <a:pPr>
              <a:spcAft>
                <a:spcPts val="600"/>
              </a:spcAft>
            </a:pPr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616563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3FB199-37AF-4AEB-91D2-999973453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889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évisionne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6D878E7-F5C5-452B-937D-8840816B6ECF}"/>
              </a:ext>
            </a:extLst>
          </p:cNvPr>
          <p:cNvSpPr txBox="1"/>
          <p:nvPr/>
        </p:nvSpPr>
        <p:spPr>
          <a:xfrm>
            <a:off x="2843428" y="6003837"/>
            <a:ext cx="6505071" cy="405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1400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0A39BD7-E179-4570-8079-E6A295B49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6831863"/>
              </p:ext>
            </p:extLst>
          </p:nvPr>
        </p:nvGraphicFramePr>
        <p:xfrm>
          <a:off x="385894" y="1193533"/>
          <a:ext cx="11196469" cy="5160900"/>
        </p:xfrm>
        <a:graphic>
          <a:graphicData uri="http://schemas.openxmlformats.org/drawingml/2006/table">
            <a:tbl>
              <a:tblPr firstRow="1" firstCol="1" bandRow="1">
                <a:solidFill>
                  <a:srgbClr val="F2F2F2">
                    <a:alpha val="30196"/>
                  </a:srgbClr>
                </a:solidFill>
              </a:tblPr>
              <a:tblGrid>
                <a:gridCol w="1156111">
                  <a:extLst>
                    <a:ext uri="{9D8B030D-6E8A-4147-A177-3AD203B41FA5}">
                      <a16:colId xmlns:a16="http://schemas.microsoft.com/office/drawing/2014/main" val="421084245"/>
                    </a:ext>
                  </a:extLst>
                </a:gridCol>
                <a:gridCol w="10040358">
                  <a:extLst>
                    <a:ext uri="{9D8B030D-6E8A-4147-A177-3AD203B41FA5}">
                      <a16:colId xmlns:a16="http://schemas.microsoft.com/office/drawing/2014/main" val="3974086313"/>
                    </a:ext>
                  </a:extLst>
                </a:gridCol>
              </a:tblGrid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éance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9050" cap="flat" cmpd="sng" algn="ctr">
                      <a:noFill/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tenu des séances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008224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-2-3-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cepts et principes de base de la comptabilité – Le PCG – Les différentes classes – LAB -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01333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-6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– Les documents comptables – Les normes internationales =&gt; </a:t>
                      </a: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rès le bilan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204828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-8</a:t>
                      </a:r>
                      <a:endParaRPr lang="fr-FR" sz="1500" cap="none" spc="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compte de résultat - Analyse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772546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-10</a:t>
                      </a:r>
                      <a:endParaRPr lang="fr-FR" sz="1500" cap="none" spc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Les actifs – Les immobilisations – IFRS 16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16633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1-12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Les actifs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26539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3-14</a:t>
                      </a:r>
                      <a:endParaRPr lang="fr-FR" sz="1500" cap="none" spc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Le passif – les capitaux propres – Les provisions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858747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5-16</a:t>
                      </a:r>
                      <a:endParaRPr lang="fr-FR" sz="1500" cap="none" spc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Le bilan – le passif – Dettes à LT et autres dettes 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20361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7-1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d’inventair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09341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9-20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’annex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96521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-22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points particuliers – La TVA – Affectation du résultat</a:t>
                      </a:r>
                    </a:p>
                    <a:p>
                      <a:pPr algn="just">
                        <a:tabLst>
                          <a:tab pos="3978910" algn="l"/>
                        </a:tabLst>
                      </a:pP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891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914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5807759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Les charges</a:t>
            </a:r>
            <a:br>
              <a:rPr lang="en-US" sz="4600" dirty="0"/>
            </a:b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00825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8" name="Rectangle 90">
            <a:extLst>
              <a:ext uri="{FF2B5EF4-FFF2-40B4-BE49-F238E27FC236}">
                <a16:creationId xmlns:a16="http://schemas.microsoft.com/office/drawing/2014/main" id="{1C574E90-1949-4924-B663-AEA13DB791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92">
            <a:extLst>
              <a:ext uri="{FF2B5EF4-FFF2-40B4-BE49-F238E27FC236}">
                <a16:creationId xmlns:a16="http://schemas.microsoft.com/office/drawing/2014/main" id="{3CD1EA40-7116-4FCB-9369-70F29FAA91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46960" cy="3854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344" y="710273"/>
            <a:ext cx="4352315" cy="2813320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Les charges</a:t>
            </a:r>
            <a:br>
              <a:rPr lang="en-US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1" name="Rectangle 94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36484" cy="38546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CF1CD8B-D430-49E7-8630-84152C414E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95528" y="73152"/>
            <a:ext cx="1178966" cy="232963"/>
            <a:chOff x="7763256" y="73152"/>
            <a:chExt cx="1178966" cy="232963"/>
          </a:xfrm>
        </p:grpSpPr>
        <p:sp>
          <p:nvSpPr>
            <p:cNvPr id="98" name="Rectangle 64">
              <a:extLst>
                <a:ext uri="{FF2B5EF4-FFF2-40B4-BE49-F238E27FC236}">
                  <a16:creationId xmlns:a16="http://schemas.microsoft.com/office/drawing/2014/main" id="{1F5B8298-9AB4-45B4-B28E-C8C1A26440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66">
              <a:extLst>
                <a:ext uri="{FF2B5EF4-FFF2-40B4-BE49-F238E27FC236}">
                  <a16:creationId xmlns:a16="http://schemas.microsoft.com/office/drawing/2014/main" id="{100AEF19-4AE6-42BE-81E6-95700DB853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tangle 64">
              <a:extLst>
                <a:ext uri="{FF2B5EF4-FFF2-40B4-BE49-F238E27FC236}">
                  <a16:creationId xmlns:a16="http://schemas.microsoft.com/office/drawing/2014/main" id="{1192B5C1-AE13-49EA-82FD-F3C3BC02AB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66">
              <a:extLst>
                <a:ext uri="{FF2B5EF4-FFF2-40B4-BE49-F238E27FC236}">
                  <a16:creationId xmlns:a16="http://schemas.microsoft.com/office/drawing/2014/main" id="{713612B5-8E9D-4FEF-86B9-52A0FABD8A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tangle 64">
              <a:extLst>
                <a:ext uri="{FF2B5EF4-FFF2-40B4-BE49-F238E27FC236}">
                  <a16:creationId xmlns:a16="http://schemas.microsoft.com/office/drawing/2014/main" id="{14FC746D-B820-44A3-B1B3-53B690BC2B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ctangle 66">
              <a:extLst>
                <a:ext uri="{FF2B5EF4-FFF2-40B4-BE49-F238E27FC236}">
                  <a16:creationId xmlns:a16="http://schemas.microsoft.com/office/drawing/2014/main" id="{8778550A-567F-40F6-A77F-2E2B501759A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tangle 64">
              <a:extLst>
                <a:ext uri="{FF2B5EF4-FFF2-40B4-BE49-F238E27FC236}">
                  <a16:creationId xmlns:a16="http://schemas.microsoft.com/office/drawing/2014/main" id="{C28C989E-85FD-4D1C-AF77-82F4B985FD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ctangle 66">
              <a:extLst>
                <a:ext uri="{FF2B5EF4-FFF2-40B4-BE49-F238E27FC236}">
                  <a16:creationId xmlns:a16="http://schemas.microsoft.com/office/drawing/2014/main" id="{58FDDCED-5FC6-4B14-A0E2-DF4310ED969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Rectangle 64">
              <a:extLst>
                <a:ext uri="{FF2B5EF4-FFF2-40B4-BE49-F238E27FC236}">
                  <a16:creationId xmlns:a16="http://schemas.microsoft.com/office/drawing/2014/main" id="{E80E854B-CCEB-4CEF-B465-561C4C872A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Rectangle 66">
              <a:extLst>
                <a:ext uri="{FF2B5EF4-FFF2-40B4-BE49-F238E27FC236}">
                  <a16:creationId xmlns:a16="http://schemas.microsoft.com/office/drawing/2014/main" id="{02BED26F-9C32-4DF8-8739-D89F6F0591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64">
              <a:extLst>
                <a:ext uri="{FF2B5EF4-FFF2-40B4-BE49-F238E27FC236}">
                  <a16:creationId xmlns:a16="http://schemas.microsoft.com/office/drawing/2014/main" id="{CE3B71C9-F500-46F1-8D17-C3EF4DA5FD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tangle 66">
              <a:extLst>
                <a:ext uri="{FF2B5EF4-FFF2-40B4-BE49-F238E27FC236}">
                  <a16:creationId xmlns:a16="http://schemas.microsoft.com/office/drawing/2014/main" id="{C14431D0-29B6-473C-B2FD-4661864DA4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tangle 64">
              <a:extLst>
                <a:ext uri="{FF2B5EF4-FFF2-40B4-BE49-F238E27FC236}">
                  <a16:creationId xmlns:a16="http://schemas.microsoft.com/office/drawing/2014/main" id="{D10457BA-9444-4642-861C-78120DD8D4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Rectangle 66">
              <a:extLst>
                <a:ext uri="{FF2B5EF4-FFF2-40B4-BE49-F238E27FC236}">
                  <a16:creationId xmlns:a16="http://schemas.microsoft.com/office/drawing/2014/main" id="{27C95C30-0364-4C32-B686-0C366086A4C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Rectangle 64">
              <a:extLst>
                <a:ext uri="{FF2B5EF4-FFF2-40B4-BE49-F238E27FC236}">
                  <a16:creationId xmlns:a16="http://schemas.microsoft.com/office/drawing/2014/main" id="{A0BDEDBA-CA15-41EE-B2C6-8A973B5E62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Rectangle 66">
              <a:extLst>
                <a:ext uri="{FF2B5EF4-FFF2-40B4-BE49-F238E27FC236}">
                  <a16:creationId xmlns:a16="http://schemas.microsoft.com/office/drawing/2014/main" id="{702B9007-982C-4F69-A443-B07F3BEFD6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tangle 64">
              <a:extLst>
                <a:ext uri="{FF2B5EF4-FFF2-40B4-BE49-F238E27FC236}">
                  <a16:creationId xmlns:a16="http://schemas.microsoft.com/office/drawing/2014/main" id="{28596B48-F33B-451E-8C2D-3525B33876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Rectangle 66">
              <a:extLst>
                <a:ext uri="{FF2B5EF4-FFF2-40B4-BE49-F238E27FC236}">
                  <a16:creationId xmlns:a16="http://schemas.microsoft.com/office/drawing/2014/main" id="{4B493BB9-A171-4B97-B05A-187E03FFAB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Rectangle 64">
              <a:extLst>
                <a:ext uri="{FF2B5EF4-FFF2-40B4-BE49-F238E27FC236}">
                  <a16:creationId xmlns:a16="http://schemas.microsoft.com/office/drawing/2014/main" id="{973B8111-A5EB-4EE8-9813-8495336F67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tangle 66">
              <a:extLst>
                <a:ext uri="{FF2B5EF4-FFF2-40B4-BE49-F238E27FC236}">
                  <a16:creationId xmlns:a16="http://schemas.microsoft.com/office/drawing/2014/main" id="{6A4F8D39-9886-490F-B7A9-3B2693299A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7165580" y="202918"/>
            <a:ext cx="3531858" cy="3521185"/>
          </a:xfrm>
          <a:prstGeom prst="rect">
            <a:avLst/>
          </a:prstGeom>
        </p:spPr>
      </p:pic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731519" y="4099034"/>
            <a:ext cx="10785191" cy="2196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/>
              <a:t>Différence charges / immobilisations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6492875"/>
            <a:ext cx="12191999" cy="36512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15318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s charg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’exploitation</a:t>
            </a:r>
            <a:endParaRPr lang="en-US" sz="44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3831778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8824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s charg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’exploitation</a:t>
            </a:r>
            <a:endParaRPr lang="en-US" sz="44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18555794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444562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utres</a:t>
            </a: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servic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exterieurs</a:t>
            </a: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- 62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2286719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70884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utres</a:t>
            </a: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servic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exterieurs</a:t>
            </a: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- 62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44150630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65143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s </a:t>
            </a:r>
            <a:r>
              <a:rPr lang="en-US" sz="44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mpôts</a:t>
            </a: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et taxes - 63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68975476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1625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s charges de personnel - 64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23777493"/>
              </p:ext>
            </p:extLst>
          </p:nvPr>
        </p:nvGraphicFramePr>
        <p:xfrm>
          <a:off x="1189722" y="1864311"/>
          <a:ext cx="9812555" cy="39683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68516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x-none" sz="4400" kern="1200" dirty="0"/>
              <a:t>Autres charges de gestion courante (65)</a:t>
            </a:r>
            <a:endParaRPr lang="fr-FR" sz="4400" kern="1200" dirty="0"/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624742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83212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x-none" sz="4400" kern="1200" dirty="0"/>
              <a:t>Les charges financières (comptes 66)</a:t>
            </a:r>
            <a:endParaRPr lang="fr-FR" sz="4400" kern="1200" dirty="0"/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2149806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1887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8FC9BE17-9A7B-462D-AE50-3D87773873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Plusieurs points d’interrogation sur fond noir">
            <a:extLst>
              <a:ext uri="{FF2B5EF4-FFF2-40B4-BE49-F238E27FC236}">
                <a16:creationId xmlns:a16="http://schemas.microsoft.com/office/drawing/2014/main" id="{1FD79E4A-E80D-4BA5-BEA9-44F693117FD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906" t="9091" r="-1" b="-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EBE8569-6AEC-4B8C-8D53-2DE337CDB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8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093" y="1161288"/>
            <a:ext cx="7605587" cy="443485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400" dirty="0" err="1"/>
              <a:t>Rechercher</a:t>
            </a:r>
            <a:r>
              <a:rPr lang="en-US" sz="2400" dirty="0"/>
              <a:t> dans le PCG – </a:t>
            </a:r>
            <a:r>
              <a:rPr lang="en-US" sz="2400" dirty="0" err="1"/>
              <a:t>utilisez</a:t>
            </a:r>
            <a:r>
              <a:rPr lang="en-US" sz="2400" dirty="0"/>
              <a:t> la </a:t>
            </a:r>
            <a:r>
              <a:rPr lang="en-US" sz="2400" dirty="0" err="1"/>
              <a:t>liste</a:t>
            </a:r>
            <a:r>
              <a:rPr lang="en-US" sz="2400" dirty="0"/>
              <a:t> </a:t>
            </a:r>
            <a:r>
              <a:rPr lang="en-US" sz="2400" dirty="0" err="1"/>
              <a:t>abrégée</a:t>
            </a:r>
            <a:r>
              <a:rPr lang="en-US" sz="2400" dirty="0"/>
              <a:t> (6/7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00984" cy="9144"/>
          </a:xfrm>
          <a:prstGeom prst="rect">
            <a:avLst/>
          </a:prstGeom>
          <a:solidFill>
            <a:srgbClr val="D5D5D5"/>
          </a:solidFill>
          <a:ln w="3175">
            <a:solidFill>
              <a:srgbClr val="D5D5D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60668A1-F703-43F0-AA81-AEEE6C0B4942}"/>
              </a:ext>
            </a:extLst>
          </p:cNvPr>
          <p:cNvSpPr txBox="1"/>
          <p:nvPr/>
        </p:nvSpPr>
        <p:spPr>
          <a:xfrm>
            <a:off x="371093" y="2470912"/>
            <a:ext cx="6973289" cy="345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err="1"/>
              <a:t>Honoraires</a:t>
            </a:r>
            <a:r>
              <a:rPr lang="en-US" sz="1400" dirty="0"/>
              <a:t> avocat 				6226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err="1"/>
              <a:t>Prestations</a:t>
            </a:r>
            <a:r>
              <a:rPr lang="en-US" sz="1400" dirty="0"/>
              <a:t> de services (formation) 	 	706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err="1"/>
              <a:t>Achat</a:t>
            </a:r>
            <a:r>
              <a:rPr lang="en-US" sz="1400" dirty="0"/>
              <a:t> de </a:t>
            </a:r>
            <a:r>
              <a:rPr lang="en-US" sz="1400" dirty="0" err="1"/>
              <a:t>fournitures</a:t>
            </a:r>
            <a:r>
              <a:rPr lang="en-US" sz="1400" dirty="0"/>
              <a:t>				602 </a:t>
            </a:r>
            <a:r>
              <a:rPr lang="en-US" sz="1400" dirty="0" err="1"/>
              <a:t>ou</a:t>
            </a:r>
            <a:r>
              <a:rPr lang="en-US" sz="1400" dirty="0"/>
              <a:t> 606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err="1"/>
              <a:t>Salaire</a:t>
            </a:r>
            <a:r>
              <a:rPr lang="en-US" sz="1400" dirty="0"/>
              <a:t> brut de la </a:t>
            </a:r>
            <a:r>
              <a:rPr lang="en-US" sz="1400" dirty="0" err="1"/>
              <a:t>personne</a:t>
            </a:r>
            <a:r>
              <a:rPr lang="en-US" sz="1400" dirty="0"/>
              <a:t> au secretariat		641 =&gt; charges + 645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err="1"/>
              <a:t>Salaire</a:t>
            </a:r>
            <a:r>
              <a:rPr lang="en-US" sz="1400" dirty="0"/>
              <a:t> net de la </a:t>
            </a:r>
            <a:r>
              <a:rPr lang="en-US" sz="1400" dirty="0" err="1"/>
              <a:t>personne</a:t>
            </a:r>
            <a:r>
              <a:rPr lang="en-US" sz="1400" dirty="0"/>
              <a:t> au secretariat		421 = &gt; flux de </a:t>
            </a:r>
            <a:r>
              <a:rPr lang="en-US" sz="1400" dirty="0" err="1"/>
              <a:t>tresorerie</a:t>
            </a:r>
            <a:endParaRPr lang="en-US" sz="14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VA </a:t>
            </a:r>
            <a:r>
              <a:rPr lang="en-US" sz="1400" dirty="0" err="1"/>
              <a:t>collectée</a:t>
            </a:r>
            <a:r>
              <a:rPr lang="en-US" sz="1400" dirty="0"/>
              <a:t> sur les ventes			4457 =&gt; </a:t>
            </a:r>
            <a:r>
              <a:rPr lang="en-US" sz="1400" dirty="0" err="1"/>
              <a:t>neutalité</a:t>
            </a:r>
            <a:endParaRPr lang="en-US" sz="14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Frais de </a:t>
            </a:r>
            <a:r>
              <a:rPr lang="en-US" sz="1400" dirty="0" err="1"/>
              <a:t>réparation</a:t>
            </a:r>
            <a:r>
              <a:rPr lang="en-US" sz="1400" dirty="0"/>
              <a:t> de </a:t>
            </a:r>
            <a:r>
              <a:rPr lang="en-US" sz="1400" dirty="0" err="1"/>
              <a:t>véhicules</a:t>
            </a:r>
            <a:r>
              <a:rPr lang="en-US" sz="1400" dirty="0"/>
              <a:t>			61552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ssurances				616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Prix de cession d’un </a:t>
            </a:r>
            <a:r>
              <a:rPr lang="en-US" sz="1400" dirty="0" err="1"/>
              <a:t>véhicule</a:t>
            </a:r>
            <a:r>
              <a:rPr lang="en-US" sz="1400" dirty="0"/>
              <a:t> de direction		775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Frais </a:t>
            </a:r>
            <a:r>
              <a:rPr lang="en-US" sz="1400" dirty="0" err="1"/>
              <a:t>bancaires</a:t>
            </a:r>
            <a:r>
              <a:rPr lang="en-US" sz="1400" dirty="0"/>
              <a:t>				627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21651418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x-none" sz="4400" kern="1200" dirty="0"/>
              <a:t>Les Charges exceptionnelles</a:t>
            </a:r>
            <a:r>
              <a:rPr lang="fr-FR" sz="4400" kern="1200" dirty="0"/>
              <a:t> </a:t>
            </a:r>
            <a:r>
              <a:rPr lang="x-none" sz="4400" kern="1200" dirty="0"/>
              <a:t>(comptes 6</a:t>
            </a:r>
            <a:r>
              <a:rPr lang="fr-FR" sz="4400" kern="1200" dirty="0"/>
              <a:t>7</a:t>
            </a:r>
            <a:r>
              <a:rPr lang="x-none" sz="4400" kern="1200" dirty="0"/>
              <a:t>)</a:t>
            </a:r>
            <a:endParaRPr lang="fr-FR" sz="4400" kern="1200" dirty="0"/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5065517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6244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x-none" sz="4400" b="1" kern="1200" dirty="0"/>
              <a:t>Les </a:t>
            </a:r>
            <a:r>
              <a:rPr lang="fr-FR" sz="4400" b="1" kern="1200" dirty="0"/>
              <a:t>dotations </a:t>
            </a:r>
            <a:r>
              <a:rPr lang="fr-FR" sz="4400" b="1" kern="1200" dirty="0">
                <a:solidFill>
                  <a:srgbClr val="FFC000"/>
                </a:solidFill>
              </a:rPr>
              <a:t>DADP</a:t>
            </a:r>
            <a:r>
              <a:rPr lang="fr-FR" sz="4400" b="1" kern="1200" dirty="0"/>
              <a:t> </a:t>
            </a:r>
            <a:r>
              <a:rPr lang="x-none" sz="4400" b="1" kern="1200" dirty="0"/>
              <a:t>(comptes 6</a:t>
            </a:r>
            <a:r>
              <a:rPr lang="fr-FR" sz="4400" b="1" kern="1200" dirty="0"/>
              <a:t>7</a:t>
            </a:r>
            <a:r>
              <a:rPr lang="x-none" sz="4400" b="1" kern="1200" dirty="0"/>
              <a:t>)</a:t>
            </a:r>
            <a:endParaRPr lang="fr-FR" sz="4400" b="1" kern="1200" dirty="0"/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50448489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86429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82413CC-69E6-4BDA-A88D-E4EF8F95B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F1F7357-8633-4CE7-BF80-475EE8A2FA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E402FE4E-C12D-497C-AF81-F08E4E02B4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06513" y="0"/>
              <a:ext cx="3862388" cy="6843713"/>
            </a:xfrm>
            <a:custGeom>
              <a:avLst/>
              <a:gdLst>
                <a:gd name="T0" fmla="*/ 813 w 813"/>
                <a:gd name="T1" fmla="*/ 0 h 1440"/>
                <a:gd name="T2" fmla="*/ 435 w 813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59247B10-170D-4E62-849A-38FCB43C6A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626725" y="9525"/>
              <a:ext cx="1539875" cy="555625"/>
            </a:xfrm>
            <a:custGeom>
              <a:avLst/>
              <a:gdLst>
                <a:gd name="T0" fmla="*/ 324 w 324"/>
                <a:gd name="T1" fmla="*/ 117 h 117"/>
                <a:gd name="T2" fmla="*/ 0 w 324"/>
                <a:gd name="T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9A587A7-1BEF-45AA-9EFC-6558A8749C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247313" y="5013325"/>
              <a:ext cx="1919288" cy="1830388"/>
            </a:xfrm>
            <a:custGeom>
              <a:avLst/>
              <a:gdLst>
                <a:gd name="T0" fmla="*/ 0 w 404"/>
                <a:gd name="T1" fmla="*/ 385 h 385"/>
                <a:gd name="T2" fmla="*/ 404 w 404"/>
                <a:gd name="T3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AC25B5A1-6EF7-44EC-A2F0-1EDC96A79B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0775" y="0"/>
              <a:ext cx="3676650" cy="6843713"/>
            </a:xfrm>
            <a:custGeom>
              <a:avLst/>
              <a:gdLst>
                <a:gd name="T0" fmla="*/ 774 w 774"/>
                <a:gd name="T1" fmla="*/ 0 h 1440"/>
                <a:gd name="T2" fmla="*/ 411 w 774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0B8582C-7E17-4115-9FF1-979C8405CB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02988" y="9525"/>
              <a:ext cx="963613" cy="366713"/>
            </a:xfrm>
            <a:custGeom>
              <a:avLst/>
              <a:gdLst>
                <a:gd name="T0" fmla="*/ 203 w 203"/>
                <a:gd name="T1" fmla="*/ 77 h 77"/>
                <a:gd name="T2" fmla="*/ 0 w 203"/>
                <a:gd name="T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F6C4AB66-7A18-4E51-935B-237F4CA827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494963" y="5275263"/>
              <a:ext cx="1666875" cy="1577975"/>
            </a:xfrm>
            <a:custGeom>
              <a:avLst/>
              <a:gdLst>
                <a:gd name="T0" fmla="*/ 0 w 351"/>
                <a:gd name="T1" fmla="*/ 332 h 332"/>
                <a:gd name="T2" fmla="*/ 351 w 351"/>
                <a:gd name="T3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F12911-A240-4580-8788-0C49DB1FED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1713" y="0"/>
              <a:ext cx="3621088" cy="6843713"/>
            </a:xfrm>
            <a:custGeom>
              <a:avLst/>
              <a:gdLst>
                <a:gd name="T0" fmla="*/ 762 w 762"/>
                <a:gd name="T1" fmla="*/ 0 h 1440"/>
                <a:gd name="T2" fmla="*/ 403 w 762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EAE0F5DE-442D-4F6C-B02C-2568ED1958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501438" y="9525"/>
              <a:ext cx="665163" cy="257175"/>
            </a:xfrm>
            <a:custGeom>
              <a:avLst/>
              <a:gdLst>
                <a:gd name="T0" fmla="*/ 140 w 140"/>
                <a:gd name="T1" fmla="*/ 54 h 54"/>
                <a:gd name="T2" fmla="*/ 0 w 140"/>
                <a:gd name="T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4F24A002-AFDE-4034-85BE-CBF005AE92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641013" y="5408613"/>
              <a:ext cx="1525588" cy="1435100"/>
            </a:xfrm>
            <a:custGeom>
              <a:avLst/>
              <a:gdLst>
                <a:gd name="T0" fmla="*/ 0 w 321"/>
                <a:gd name="T1" fmla="*/ 302 h 302"/>
                <a:gd name="T2" fmla="*/ 321 w 321"/>
                <a:gd name="T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36F0721E-B4B0-4A6C-A92C-F8DE92D3AC0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1713" y="0"/>
              <a:ext cx="3244850" cy="6843713"/>
            </a:xfrm>
            <a:custGeom>
              <a:avLst/>
              <a:gdLst>
                <a:gd name="T0" fmla="*/ 683 w 683"/>
                <a:gd name="T1" fmla="*/ 0 h 1440"/>
                <a:gd name="T2" fmla="*/ 355 w 683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54D2DC98-69F8-4F2F-9D45-BDFFA5E2BB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802938" y="5518150"/>
              <a:ext cx="1363663" cy="1325563"/>
            </a:xfrm>
            <a:custGeom>
              <a:avLst/>
              <a:gdLst>
                <a:gd name="T0" fmla="*/ 0 w 287"/>
                <a:gd name="T1" fmla="*/ 279 h 279"/>
                <a:gd name="T2" fmla="*/ 287 w 287"/>
                <a:gd name="T3" fmla="*/ 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0A636E33-DC38-40B9-B941-037E5D8603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89000" y="0"/>
              <a:ext cx="3230563" cy="6843713"/>
            </a:xfrm>
            <a:custGeom>
              <a:avLst/>
              <a:gdLst>
                <a:gd name="T0" fmla="*/ 680 w 680"/>
                <a:gd name="T1" fmla="*/ 0 h 1440"/>
                <a:gd name="T2" fmla="*/ 337 w 680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03D30690-68C2-4AEC-9789-1495D97E19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979150" y="5694363"/>
              <a:ext cx="1187450" cy="1149350"/>
            </a:xfrm>
            <a:custGeom>
              <a:avLst/>
              <a:gdLst>
                <a:gd name="T0" fmla="*/ 0 w 250"/>
                <a:gd name="T1" fmla="*/ 242 h 242"/>
                <a:gd name="T2" fmla="*/ 250 w 250"/>
                <a:gd name="T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1020B1B9-821B-49FB-BDC9-57DA08CBC3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84188" y="0"/>
              <a:ext cx="3421063" cy="6843713"/>
            </a:xfrm>
            <a:custGeom>
              <a:avLst/>
              <a:gdLst>
                <a:gd name="T0" fmla="*/ 720 w 720"/>
                <a:gd name="T1" fmla="*/ 0 h 1440"/>
                <a:gd name="T2" fmla="*/ 362 w 720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720EDCE4-8B18-413F-989E-E79628E5AF1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87125" y="6049963"/>
              <a:ext cx="879475" cy="793750"/>
            </a:xfrm>
            <a:custGeom>
              <a:avLst/>
              <a:gdLst>
                <a:gd name="T0" fmla="*/ 0 w 185"/>
                <a:gd name="T1" fmla="*/ 167 h 167"/>
                <a:gd name="T2" fmla="*/ 185 w 185"/>
                <a:gd name="T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8563351E-0DDD-4FC8-8D0C-1E446E3C1B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98488" y="0"/>
              <a:ext cx="2717800" cy="6843713"/>
            </a:xfrm>
            <a:custGeom>
              <a:avLst/>
              <a:gdLst>
                <a:gd name="T0" fmla="*/ 572 w 572"/>
                <a:gd name="T1" fmla="*/ 0 h 1440"/>
                <a:gd name="T2" fmla="*/ 164 w 572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15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15E8B705-64E7-4513-B3CB-BF46C35732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61938" y="0"/>
              <a:ext cx="2944813" cy="6843713"/>
            </a:xfrm>
            <a:custGeom>
              <a:avLst/>
              <a:gdLst>
                <a:gd name="T0" fmla="*/ 620 w 620"/>
                <a:gd name="T1" fmla="*/ 0 h 1440"/>
                <a:gd name="T2" fmla="*/ 186 w 620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30DAEE1C-EBB5-47F5-9E76-564FCFDBFC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417513" y="0"/>
              <a:ext cx="2403475" cy="6843713"/>
            </a:xfrm>
            <a:custGeom>
              <a:avLst/>
              <a:gdLst>
                <a:gd name="T0" fmla="*/ 506 w 506"/>
                <a:gd name="T1" fmla="*/ 0 h 1440"/>
                <a:gd name="T2" fmla="*/ 171 w 506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EDB255E9-A3E2-4098-99A1-FE38FAD15D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4288" y="9525"/>
              <a:ext cx="1771650" cy="3198813"/>
            </a:xfrm>
            <a:custGeom>
              <a:avLst/>
              <a:gdLst>
                <a:gd name="T0" fmla="*/ 373 w 373"/>
                <a:gd name="T1" fmla="*/ 0 h 673"/>
                <a:gd name="T2" fmla="*/ 0 w 373"/>
                <a:gd name="T3" fmla="*/ 673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D2507F2A-27AF-4833-8273-5FC9A98863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763" y="6016625"/>
              <a:ext cx="214313" cy="827088"/>
            </a:xfrm>
            <a:custGeom>
              <a:avLst/>
              <a:gdLst>
                <a:gd name="T0" fmla="*/ 0 w 45"/>
                <a:gd name="T1" fmla="*/ 0 h 174"/>
                <a:gd name="T2" fmla="*/ 45 w 45"/>
                <a:gd name="T3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8DFB8904-0CB8-45AD-ABD2-F7A582365E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4288" y="0"/>
              <a:ext cx="1562100" cy="2228850"/>
            </a:xfrm>
            <a:custGeom>
              <a:avLst/>
              <a:gdLst>
                <a:gd name="T0" fmla="*/ 329 w 329"/>
                <a:gd name="T1" fmla="*/ 0 h 469"/>
                <a:gd name="T2" fmla="*/ 0 w 329"/>
                <a:gd name="T3" fmla="*/ 4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44795168"/>
              </p:ext>
            </p:extLst>
          </p:nvPr>
        </p:nvGraphicFramePr>
        <p:xfrm>
          <a:off x="807722" y="638177"/>
          <a:ext cx="10576558" cy="55282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id="{0E448ABE-CC6D-4DE6-BFE5-FAD4889C76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0784942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8606545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endParaRPr lang="fr-FR" sz="4400" b="1" kern="1200" dirty="0"/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9701588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095677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endParaRPr lang="fr-FR" sz="4400" b="1" kern="1200" dirty="0"/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63599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5807759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Les </a:t>
            </a:r>
            <a:r>
              <a:rPr lang="en-US" dirty="0" err="1"/>
              <a:t>produits</a:t>
            </a:r>
            <a:br>
              <a:rPr lang="en-US" sz="4600" dirty="0"/>
            </a:b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24963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x-none" sz="4400" kern="1200" dirty="0"/>
              <a:t>Le</a:t>
            </a:r>
            <a:r>
              <a:rPr lang="fr-FR" sz="4400" kern="1200" dirty="0"/>
              <a:t> chiffre d’affaires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14235648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94326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x-none" sz="4400" kern="1200" dirty="0"/>
              <a:t>Le</a:t>
            </a:r>
            <a:r>
              <a:rPr lang="fr-FR" sz="4400" kern="1200" dirty="0"/>
              <a:t> stock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50580554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05380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x-none" sz="4400" kern="1200" dirty="0"/>
              <a:t>Le</a:t>
            </a:r>
            <a:r>
              <a:rPr lang="fr-FR" sz="4400" kern="1200" dirty="0"/>
              <a:t> stock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8113826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47220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7423E2-1513-44EB-8D52-91ACCB7F5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duction </a:t>
            </a:r>
            <a:r>
              <a:rPr lang="fr-FR" dirty="0" err="1"/>
              <a:t>immobilisee</a:t>
            </a:r>
            <a:r>
              <a:rPr lang="fr-FR" dirty="0"/>
              <a:t> = princip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427D4CA-BC17-4FBA-9989-9B788ADD5B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Je comptabilise les charges/ frais</a:t>
            </a:r>
          </a:p>
          <a:p>
            <a:r>
              <a:rPr lang="fr-FR" dirty="0"/>
              <a:t>606 =&gt; fournitures</a:t>
            </a:r>
          </a:p>
          <a:p>
            <a:r>
              <a:rPr lang="fr-FR" dirty="0"/>
              <a:t>601 =&gt; matériaux</a:t>
            </a:r>
          </a:p>
          <a:p>
            <a:r>
              <a:rPr lang="fr-FR" dirty="0"/>
              <a:t>604/605 =&gt; SST</a:t>
            </a:r>
          </a:p>
          <a:p>
            <a:r>
              <a:rPr lang="fr-FR" dirty="0"/>
              <a:t>641 =&gt; personnel</a:t>
            </a:r>
          </a:p>
          <a:p>
            <a:r>
              <a:rPr lang="fr-FR" dirty="0"/>
              <a:t>= total des charges de l’exercice</a:t>
            </a:r>
          </a:p>
          <a:p>
            <a:endParaRPr lang="fr-FR" dirty="0"/>
          </a:p>
          <a:p>
            <a:r>
              <a:rPr lang="fr-FR" dirty="0"/>
              <a:t>Ecriture de fin d’exercice = 231 / 721</a:t>
            </a:r>
          </a:p>
        </p:txBody>
      </p:sp>
    </p:spTree>
    <p:extLst>
      <p:ext uri="{BB962C8B-B14F-4D97-AF65-F5344CB8AC3E}">
        <p14:creationId xmlns:p14="http://schemas.microsoft.com/office/powerpoint/2010/main" val="3567573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8317208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4800" dirty="0"/>
            </a:br>
            <a:r>
              <a:rPr lang="en-US" dirty="0"/>
              <a:t>La classification du PCG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7946888" y="10"/>
            <a:ext cx="4243589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ZoneTexte 13">
            <a:extLst>
              <a:ext uri="{FF2B5EF4-FFF2-40B4-BE49-F238E27FC236}">
                <a16:creationId xmlns:a16="http://schemas.microsoft.com/office/drawing/2014/main" id="{81D349E7-2792-4173-B922-B597DE13B126}"/>
              </a:ext>
            </a:extLst>
          </p:cNvPr>
          <p:cNvSpPr txBox="1"/>
          <p:nvPr/>
        </p:nvSpPr>
        <p:spPr>
          <a:xfrm>
            <a:off x="253232" y="2764609"/>
            <a:ext cx="7585751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1 : Comptes de capitaux.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2 : Comptes d'immobilisations. 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3 : Comptes de stocks.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4 : Comptes de tiers (créances et / ou dettes).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5 : Comptes financiers (banque, caisse ….).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e 6 : Comptes de charges.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algn="just"/>
            <a:r>
              <a:rPr lang="fr-FR" b="1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Classe 7 : Comptes de produits.</a:t>
            </a:r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9951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7423E2-1513-44EB-8D52-91ACCB7F5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duction </a:t>
            </a:r>
            <a:r>
              <a:rPr lang="fr-FR" dirty="0" err="1"/>
              <a:t>immobilisee</a:t>
            </a:r>
            <a:r>
              <a:rPr lang="fr-FR" dirty="0"/>
              <a:t> = principe / impac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427D4CA-BC17-4FBA-9989-9B788ADD5B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omptablement :</a:t>
            </a:r>
          </a:p>
          <a:p>
            <a:r>
              <a:rPr lang="fr-FR" dirty="0"/>
              <a:t>Je constate un 231 =&gt; immobilisations en cours de construction à actif</a:t>
            </a:r>
          </a:p>
          <a:p>
            <a:endParaRPr lang="fr-FR" dirty="0"/>
          </a:p>
          <a:p>
            <a:r>
              <a:rPr lang="fr-FR" dirty="0"/>
              <a:t>Je constate  ∑ charges = ∑ produits</a:t>
            </a:r>
          </a:p>
          <a:p>
            <a:endParaRPr lang="fr-FR" dirty="0"/>
          </a:p>
          <a:p>
            <a:r>
              <a:rPr lang="fr-FR" dirty="0"/>
              <a:t>Impact =&gt; apparition d’un élément au bilan – Impact nul sur le résultat et donc l’impôt puisque cela ne concerne pas mon exercice ni une charge (c’est une immobilisation future)</a:t>
            </a:r>
          </a:p>
        </p:txBody>
      </p:sp>
    </p:spTree>
    <p:extLst>
      <p:ext uri="{BB962C8B-B14F-4D97-AF65-F5344CB8AC3E}">
        <p14:creationId xmlns:p14="http://schemas.microsoft.com/office/powerpoint/2010/main" val="31792332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fr-FR" sz="4400" kern="1200" dirty="0"/>
              <a:t>Autres produits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64178478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5135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E8F175C6-C15F-4DB0-8423-A1EF4AADC8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960121" y="960120"/>
            <a:ext cx="10271760" cy="4937759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1189723" y="1087656"/>
            <a:ext cx="9812554" cy="77665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lvl="0" algn="l"/>
            <a:r>
              <a:rPr lang="fr-FR" sz="4400" kern="1200" dirty="0"/>
              <a:t>Les reprises sur dotations</a:t>
            </a:r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61011270"/>
              </p:ext>
            </p:extLst>
          </p:nvPr>
        </p:nvGraphicFramePr>
        <p:xfrm>
          <a:off x="1189722" y="1864312"/>
          <a:ext cx="9812555" cy="381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479954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8DDA986-B6EE-4642-AC60-0490373E69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B62878-12EF-4E97-A284-47BAFC30D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79188D-1ED5-4705-B8C7-5D6FB7670A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95514" y="685800"/>
            <a:ext cx="10800972" cy="548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F7423E2-1513-44EB-8D52-91ACCB7F5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054" y="1261137"/>
            <a:ext cx="8959893" cy="672438"/>
          </a:xfrm>
        </p:spPr>
        <p:txBody>
          <a:bodyPr anchor="b">
            <a:normAutofit/>
          </a:bodyPr>
          <a:lstStyle/>
          <a:p>
            <a:pPr algn="ctr"/>
            <a:r>
              <a:rPr lang="fr-FR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cus sur transferts de charg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427D4CA-BC17-4FBA-9989-9B788ADD5B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47775" y="2162174"/>
            <a:ext cx="10039350" cy="3762375"/>
          </a:xfrm>
        </p:spPr>
        <p:txBody>
          <a:bodyPr anchor="t">
            <a:noAutofit/>
          </a:bodyPr>
          <a:lstStyle/>
          <a:p>
            <a:r>
              <a:rPr lang="fr-F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me son nom l’indique ce compte est utilisé pour transférer </a:t>
            </a:r>
            <a:r>
              <a:rPr lang="fr-F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.e</a:t>
            </a:r>
            <a:r>
              <a:rPr lang="fr-F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nnuler l’impact d’une charge :</a:t>
            </a:r>
          </a:p>
          <a:p>
            <a:endParaRPr lang="fr-F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fr-F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emple : j’ai un sinistre avec légers dégâts sur mon véhicule </a:t>
            </a:r>
          </a:p>
          <a:p>
            <a:pPr marL="0" indent="0">
              <a:buNone/>
            </a:pPr>
            <a:r>
              <a:rPr lang="fr-F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=&gt; les réparations sont comptabilisées en 61552 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fr-F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le remboursement de l’assurance en 791</a:t>
            </a:r>
          </a:p>
          <a:p>
            <a:endParaRPr lang="fr-F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fr-F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act =&gt; Impact sur le résultat et donc la différence entre les deux comptes (débit et crédit) </a:t>
            </a:r>
          </a:p>
        </p:txBody>
      </p:sp>
    </p:spTree>
    <p:extLst>
      <p:ext uri="{BB962C8B-B14F-4D97-AF65-F5344CB8AC3E}">
        <p14:creationId xmlns:p14="http://schemas.microsoft.com/office/powerpoint/2010/main" val="194553903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D7B6173-1D58-48E2-83CF-37350F315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4CBDBB-4FBD-4B9E-BD01-054A81D431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01A6F03-171F-40B2-8B2C-A061B89241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6238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2C4834C-B602-4125-8264-BD0D55A588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172EE5-132F-4DD4-8855-4DBBD9C346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95844" y="1110000"/>
            <a:ext cx="10195740" cy="4629235"/>
          </a:xfrm>
          <a:prstGeom prst="rect">
            <a:avLst/>
          </a:prstGeom>
          <a:solidFill>
            <a:schemeClr val="bg1"/>
          </a:solidFill>
          <a:ln w="349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F7423E2-1513-44EB-8D52-91ACCB7F5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8875" y="1302871"/>
            <a:ext cx="8188026" cy="649754"/>
          </a:xfrm>
        </p:spPr>
        <p:txBody>
          <a:bodyPr anchor="b">
            <a:normAutofit fontScale="90000"/>
          </a:bodyPr>
          <a:lstStyle/>
          <a:p>
            <a:pPr algn="ctr"/>
            <a:r>
              <a:rPr lang="fr-FR" sz="4800" dirty="0"/>
              <a:t>Focus sur Plus valu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427D4CA-BC17-4FBA-9989-9B788ADD5B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6375" y="1952626"/>
            <a:ext cx="9382125" cy="3602504"/>
          </a:xfrm>
        </p:spPr>
        <p:txBody>
          <a:bodyPr anchor="t">
            <a:noAutofit/>
          </a:bodyPr>
          <a:lstStyle/>
          <a:p>
            <a:pPr algn="ctr"/>
            <a:r>
              <a:rPr lang="fr-FR" sz="2400" dirty="0"/>
              <a:t>Pour calculer une plus value de cession d’une immobilisation, de la même manière</a:t>
            </a:r>
          </a:p>
          <a:p>
            <a:pPr algn="ctr"/>
            <a:endParaRPr lang="fr-FR" sz="2400" dirty="0"/>
          </a:p>
          <a:p>
            <a:pPr marL="0" indent="0" algn="ctr">
              <a:buNone/>
            </a:pPr>
            <a:r>
              <a:rPr lang="fr-FR" sz="2400" dirty="0"/>
              <a:t>=&gt; La valeur nette comptable est comptabilisée en 675 (VCEAC) </a:t>
            </a:r>
          </a:p>
          <a:p>
            <a:pPr algn="ctr">
              <a:buFont typeface="Symbol" panose="05050102010706020507" pitchFamily="18" charset="2"/>
              <a:buChar char="Þ"/>
            </a:pPr>
            <a:r>
              <a:rPr lang="fr-FR" sz="2400" dirty="0"/>
              <a:t> Le prix de cession en 775 (PCEA)</a:t>
            </a:r>
          </a:p>
          <a:p>
            <a:pPr algn="ctr"/>
            <a:endParaRPr lang="fr-FR" sz="2400" dirty="0"/>
          </a:p>
          <a:p>
            <a:pPr algn="ctr"/>
            <a:r>
              <a:rPr lang="fr-FR" sz="2400" dirty="0"/>
              <a:t>Impact =&gt; Impact sur le résultat et donc la +/- Value dégagée par la différence entre 675 et 775 </a:t>
            </a:r>
          </a:p>
        </p:txBody>
      </p:sp>
    </p:spTree>
    <p:extLst>
      <p:ext uri="{BB962C8B-B14F-4D97-AF65-F5344CB8AC3E}">
        <p14:creationId xmlns:p14="http://schemas.microsoft.com/office/powerpoint/2010/main" val="1171549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7" name="Rectangle 36">
            <a:extLst>
              <a:ext uri="{FF2B5EF4-FFF2-40B4-BE49-F238E27FC236}">
                <a16:creationId xmlns:a16="http://schemas.microsoft.com/office/drawing/2014/main" id="{8FC9BE17-9A7B-462D-AE50-3D87773873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FD79E4A-E80D-4BA5-BEA9-44F693117F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7862" r="7862"/>
          <a:stretch/>
        </p:blipFill>
        <p:spPr>
          <a:xfrm>
            <a:off x="7829550" y="0"/>
            <a:ext cx="4419214" cy="685799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3EBE8569-6AEC-4B8C-8D53-2DE337CDB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8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318" y="110998"/>
            <a:ext cx="5515356" cy="53238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400" dirty="0" err="1"/>
              <a:t>Rechercher</a:t>
            </a:r>
            <a:r>
              <a:rPr lang="en-US" sz="2400" dirty="0"/>
              <a:t> dans le PCG (</a:t>
            </a:r>
            <a:r>
              <a:rPr lang="en-US" sz="2400" dirty="0" err="1"/>
              <a:t>liste</a:t>
            </a:r>
            <a:r>
              <a:rPr lang="en-US" sz="2400" dirty="0"/>
              <a:t> </a:t>
            </a:r>
            <a:r>
              <a:rPr lang="en-US" sz="2400" dirty="0" err="1"/>
              <a:t>abrégée</a:t>
            </a:r>
            <a:r>
              <a:rPr lang="en-US" sz="2400" dirty="0"/>
              <a:t>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00984" cy="9144"/>
          </a:xfrm>
          <a:prstGeom prst="rect">
            <a:avLst/>
          </a:prstGeom>
          <a:solidFill>
            <a:srgbClr val="D5D5D5"/>
          </a:solidFill>
          <a:ln w="3175">
            <a:solidFill>
              <a:srgbClr val="D5D5D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60668A1-F703-43F0-AA81-AEEE6C0B4942}"/>
              </a:ext>
            </a:extLst>
          </p:cNvPr>
          <p:cNvSpPr txBox="1"/>
          <p:nvPr/>
        </p:nvSpPr>
        <p:spPr>
          <a:xfrm>
            <a:off x="371093" y="1116839"/>
            <a:ext cx="7258432" cy="527481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Fournisseurs</a:t>
            </a:r>
            <a:r>
              <a:rPr lang="en-US" sz="1900" dirty="0"/>
              <a:t>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Escomptes</a:t>
            </a:r>
            <a:r>
              <a:rPr lang="en-US" sz="1900" dirty="0"/>
              <a:t> </a:t>
            </a:r>
            <a:r>
              <a:rPr lang="en-US" sz="1900" dirty="0" err="1"/>
              <a:t>accordés</a:t>
            </a:r>
            <a:endParaRPr lang="en-US" sz="19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/>
              <a:t>Bonifications </a:t>
            </a:r>
            <a:r>
              <a:rPr lang="en-US" sz="1900" dirty="0" err="1"/>
              <a:t>obtenus</a:t>
            </a:r>
            <a:endParaRPr lang="en-US" sz="19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Dépréciations</a:t>
            </a:r>
            <a:r>
              <a:rPr lang="en-US" sz="1900" dirty="0"/>
              <a:t> des stocks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Versement</a:t>
            </a:r>
            <a:r>
              <a:rPr lang="en-US" sz="1900" dirty="0"/>
              <a:t> aux </a:t>
            </a:r>
            <a:r>
              <a:rPr lang="en-US" sz="1900" dirty="0" err="1"/>
              <a:t>comités</a:t>
            </a:r>
            <a:r>
              <a:rPr lang="en-US" sz="1900" dirty="0"/>
              <a:t> hygiene et </a:t>
            </a:r>
            <a:r>
              <a:rPr lang="en-US" sz="1900" dirty="0" err="1"/>
              <a:t>sécurité</a:t>
            </a:r>
            <a:r>
              <a:rPr lang="en-US" sz="1900" dirty="0"/>
              <a:t> (CSE)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Résultat</a:t>
            </a:r>
            <a:r>
              <a:rPr lang="en-US" sz="1900" dirty="0"/>
              <a:t> (</a:t>
            </a:r>
            <a:r>
              <a:rPr lang="en-US" sz="1900" dirty="0" err="1"/>
              <a:t>perte</a:t>
            </a:r>
            <a:r>
              <a:rPr lang="en-US" sz="1900" dirty="0"/>
              <a:t>)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Rabais</a:t>
            </a:r>
            <a:r>
              <a:rPr lang="en-US" sz="1900" dirty="0"/>
              <a:t> remise </a:t>
            </a:r>
            <a:r>
              <a:rPr lang="en-US" sz="1900" dirty="0" err="1"/>
              <a:t>ristournes</a:t>
            </a:r>
            <a:r>
              <a:rPr lang="en-US" sz="1900" dirty="0"/>
              <a:t> sur </a:t>
            </a:r>
            <a:r>
              <a:rPr lang="en-US" sz="1900" dirty="0" err="1"/>
              <a:t>autres</a:t>
            </a:r>
            <a:r>
              <a:rPr lang="en-US" sz="1900" dirty="0"/>
              <a:t> services </a:t>
            </a:r>
            <a:r>
              <a:rPr lang="en-US" sz="1900" dirty="0" err="1"/>
              <a:t>extérieurs</a:t>
            </a:r>
            <a:endParaRPr lang="en-US" sz="19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Publicité</a:t>
            </a:r>
            <a:r>
              <a:rPr lang="en-US" sz="1900" dirty="0"/>
              <a:t>	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Taxe</a:t>
            </a:r>
            <a:r>
              <a:rPr lang="en-US" sz="1900" dirty="0"/>
              <a:t> </a:t>
            </a:r>
            <a:r>
              <a:rPr lang="en-US" sz="1900" dirty="0" err="1"/>
              <a:t>foncière</a:t>
            </a:r>
            <a:r>
              <a:rPr lang="en-US" sz="1900" dirty="0"/>
              <a:t> </a:t>
            </a:r>
            <a:r>
              <a:rPr lang="en-US" sz="1900" dirty="0" err="1"/>
              <a:t>encaissée</a:t>
            </a:r>
            <a:r>
              <a:rPr lang="en-US" sz="1900" dirty="0"/>
              <a:t> sur </a:t>
            </a:r>
            <a:r>
              <a:rPr lang="en-US" sz="1900" dirty="0" err="1"/>
              <a:t>locataire</a:t>
            </a:r>
            <a:endParaRPr lang="en-US" sz="19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Taxe</a:t>
            </a:r>
            <a:r>
              <a:rPr lang="en-US" sz="1900" dirty="0"/>
              <a:t> </a:t>
            </a:r>
            <a:r>
              <a:rPr lang="en-US" sz="1900" dirty="0" err="1"/>
              <a:t>fonciére</a:t>
            </a:r>
            <a:r>
              <a:rPr lang="en-US" sz="1900" dirty="0"/>
              <a:t> payee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Cotisation</a:t>
            </a:r>
            <a:r>
              <a:rPr lang="en-US" sz="1900" dirty="0"/>
              <a:t> </a:t>
            </a:r>
            <a:r>
              <a:rPr lang="en-US" sz="1900" dirty="0" err="1"/>
              <a:t>foncière</a:t>
            </a:r>
            <a:r>
              <a:rPr lang="en-US" sz="1900" dirty="0"/>
              <a:t> des </a:t>
            </a:r>
            <a:r>
              <a:rPr lang="en-US" sz="1900" dirty="0" err="1"/>
              <a:t>entreprises</a:t>
            </a:r>
            <a:endParaRPr lang="en-US" sz="19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 err="1"/>
              <a:t>Revenus</a:t>
            </a:r>
            <a:r>
              <a:rPr lang="en-US" sz="1900" dirty="0"/>
              <a:t> des immeubles non </a:t>
            </a:r>
            <a:r>
              <a:rPr lang="en-US" sz="1900" dirty="0" err="1"/>
              <a:t>affectés</a:t>
            </a:r>
            <a:r>
              <a:rPr lang="en-US" sz="1900" dirty="0"/>
              <a:t> à des </a:t>
            </a:r>
            <a:r>
              <a:rPr lang="en-US" sz="1900" dirty="0" err="1"/>
              <a:t>activités</a:t>
            </a:r>
            <a:r>
              <a:rPr lang="en-US" sz="1900" dirty="0"/>
              <a:t> </a:t>
            </a:r>
            <a:r>
              <a:rPr lang="en-US" sz="1900" dirty="0" err="1"/>
              <a:t>professionnelles</a:t>
            </a:r>
            <a:r>
              <a:rPr lang="en-US" sz="1900" dirty="0"/>
              <a:t>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1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4078632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!!Rectangle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FD79E4A-E80D-4BA5-BEA9-44F693117FD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40000"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15730"/>
          <a:stretch/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0140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3241202"/>
            <a:ext cx="10506456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60668A1-F703-43F0-AA81-AEEE6C0B4942}"/>
              </a:ext>
            </a:extLst>
          </p:cNvPr>
          <p:cNvSpPr txBox="1"/>
          <p:nvPr/>
        </p:nvSpPr>
        <p:spPr>
          <a:xfrm>
            <a:off x="192947" y="1535185"/>
            <a:ext cx="11154757" cy="4637015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/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Fournisseurs</a:t>
            </a:r>
            <a:r>
              <a:rPr lang="en-US" sz="3000" dirty="0"/>
              <a:t>								401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Escomptes</a:t>
            </a:r>
            <a:r>
              <a:rPr lang="en-US" sz="3000" dirty="0"/>
              <a:t> </a:t>
            </a:r>
            <a:r>
              <a:rPr lang="en-US" sz="3000" dirty="0" err="1"/>
              <a:t>accordés</a:t>
            </a:r>
            <a:r>
              <a:rPr lang="en-US" sz="3000" dirty="0"/>
              <a:t>							665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/>
              <a:t>Bonifications </a:t>
            </a:r>
            <a:r>
              <a:rPr lang="en-US" sz="3000" dirty="0" err="1"/>
              <a:t>obtenus</a:t>
            </a:r>
            <a:r>
              <a:rPr lang="en-US" sz="3000" dirty="0"/>
              <a:t>							7087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Dépréciations</a:t>
            </a:r>
            <a:r>
              <a:rPr lang="en-US" sz="3000" dirty="0"/>
              <a:t> des stocks							68173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Versement</a:t>
            </a:r>
            <a:r>
              <a:rPr lang="en-US" sz="3000" dirty="0"/>
              <a:t> aux </a:t>
            </a:r>
            <a:r>
              <a:rPr lang="en-US" sz="3000" dirty="0" err="1"/>
              <a:t>comités</a:t>
            </a:r>
            <a:r>
              <a:rPr lang="en-US" sz="3000" dirty="0"/>
              <a:t> hygiene et </a:t>
            </a:r>
            <a:r>
              <a:rPr lang="en-US" sz="3000" dirty="0" err="1"/>
              <a:t>sécurité</a:t>
            </a:r>
            <a:r>
              <a:rPr lang="en-US" sz="3000" dirty="0"/>
              <a:t> (CSE)			6473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Résultat</a:t>
            </a:r>
            <a:r>
              <a:rPr lang="en-US" sz="3000" dirty="0"/>
              <a:t> (</a:t>
            </a:r>
            <a:r>
              <a:rPr lang="en-US" sz="3000" dirty="0" err="1"/>
              <a:t>perte</a:t>
            </a:r>
            <a:r>
              <a:rPr lang="en-US" sz="3000" dirty="0"/>
              <a:t>)								129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Rabais</a:t>
            </a:r>
            <a:r>
              <a:rPr lang="en-US" sz="3000" dirty="0"/>
              <a:t> remise </a:t>
            </a:r>
            <a:r>
              <a:rPr lang="en-US" sz="3000" dirty="0" err="1"/>
              <a:t>ristournes</a:t>
            </a:r>
            <a:r>
              <a:rPr lang="en-US" sz="3000" dirty="0"/>
              <a:t> sur </a:t>
            </a:r>
            <a:r>
              <a:rPr lang="en-US" sz="3000" dirty="0" err="1"/>
              <a:t>autres</a:t>
            </a:r>
            <a:r>
              <a:rPr lang="en-US" sz="3000" dirty="0"/>
              <a:t> services </a:t>
            </a:r>
            <a:r>
              <a:rPr lang="en-US" sz="3000" dirty="0" err="1"/>
              <a:t>extérieurs</a:t>
            </a:r>
            <a:r>
              <a:rPr lang="en-US" sz="3000" dirty="0"/>
              <a:t>		629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Publicité</a:t>
            </a:r>
            <a:r>
              <a:rPr lang="en-US" sz="3000" dirty="0"/>
              <a:t>									623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Taxe</a:t>
            </a:r>
            <a:r>
              <a:rPr lang="en-US" sz="3000" dirty="0"/>
              <a:t> </a:t>
            </a:r>
            <a:r>
              <a:rPr lang="en-US" sz="3000" dirty="0" err="1"/>
              <a:t>foncière</a:t>
            </a:r>
            <a:r>
              <a:rPr lang="en-US" sz="3000" dirty="0"/>
              <a:t> </a:t>
            </a:r>
            <a:r>
              <a:rPr lang="en-US" sz="3000" dirty="0" err="1"/>
              <a:t>encaissée</a:t>
            </a:r>
            <a:r>
              <a:rPr lang="en-US" sz="3000" dirty="0"/>
              <a:t> sur </a:t>
            </a:r>
            <a:r>
              <a:rPr lang="en-US" sz="3000" dirty="0" err="1"/>
              <a:t>locataire</a:t>
            </a:r>
            <a:r>
              <a:rPr lang="en-US" sz="3000" dirty="0"/>
              <a:t> (</a:t>
            </a:r>
            <a:r>
              <a:rPr lang="en-US" sz="3000" dirty="0" err="1"/>
              <a:t>refacturation</a:t>
            </a:r>
            <a:r>
              <a:rPr lang="en-US" sz="3000" dirty="0"/>
              <a:t>)			7083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Taxe</a:t>
            </a:r>
            <a:r>
              <a:rPr lang="en-US" sz="3000" dirty="0"/>
              <a:t> </a:t>
            </a:r>
            <a:r>
              <a:rPr lang="en-US" sz="3000" dirty="0" err="1"/>
              <a:t>fonciére</a:t>
            </a:r>
            <a:r>
              <a:rPr lang="en-US" sz="3000" dirty="0"/>
              <a:t> payee							63512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Cotisation</a:t>
            </a:r>
            <a:r>
              <a:rPr lang="en-US" sz="3000" dirty="0"/>
              <a:t> </a:t>
            </a:r>
            <a:r>
              <a:rPr lang="en-US" sz="3000" dirty="0" err="1"/>
              <a:t>foncière</a:t>
            </a:r>
            <a:r>
              <a:rPr lang="en-US" sz="3000" dirty="0"/>
              <a:t> des </a:t>
            </a:r>
            <a:r>
              <a:rPr lang="en-US" sz="3000" dirty="0" err="1"/>
              <a:t>entreprises</a:t>
            </a:r>
            <a:r>
              <a:rPr lang="en-US" sz="3000" dirty="0"/>
              <a:t>					63511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000" dirty="0" err="1"/>
              <a:t>Revenus</a:t>
            </a:r>
            <a:r>
              <a:rPr lang="en-US" sz="3000" dirty="0"/>
              <a:t> des immeubles non </a:t>
            </a:r>
            <a:r>
              <a:rPr lang="en-US" sz="3000" dirty="0" err="1"/>
              <a:t>affectés</a:t>
            </a:r>
            <a:r>
              <a:rPr lang="en-US" sz="3000" dirty="0"/>
              <a:t> à des </a:t>
            </a:r>
            <a:r>
              <a:rPr lang="en-US" sz="3000" dirty="0" err="1"/>
              <a:t>activités</a:t>
            </a:r>
            <a:r>
              <a:rPr lang="en-US" sz="3000" dirty="0"/>
              <a:t> prof		752	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E1012E67-191D-4FAE-B2A5-54D2B1BF5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41489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56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Merci</a:t>
            </a:r>
          </a:p>
        </p:txBody>
      </p:sp>
      <p:sp>
        <p:nvSpPr>
          <p:cNvPr id="90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5579" r="5579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49715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4614" y="1783959"/>
            <a:ext cx="4087306" cy="2889114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400" b="0" i="0" dirty="0">
                <a:effectLst/>
              </a:rPr>
              <a:t>Le </a:t>
            </a:r>
            <a:r>
              <a:rPr lang="en-US" sz="3400" b="0" i="0" dirty="0" err="1">
                <a:effectLst/>
              </a:rPr>
              <a:t>bilan</a:t>
            </a:r>
            <a:endParaRPr lang="en-US" sz="3400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6" name="Picture 35" descr="Calculatrice et bloc-notes">
            <a:extLst>
              <a:ext uri="{FF2B5EF4-FFF2-40B4-BE49-F238E27FC236}">
                <a16:creationId xmlns:a16="http://schemas.microsoft.com/office/drawing/2014/main" id="{E19A54F0-B20E-4F8C-9128-4269DFE89C5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658" r="932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9900381-058A-49D1-91B1-63D7DD95F910}"/>
              </a:ext>
            </a:extLst>
          </p:cNvPr>
          <p:cNvSpPr/>
          <p:nvPr/>
        </p:nvSpPr>
        <p:spPr>
          <a:xfrm>
            <a:off x="1179226" y="1591878"/>
            <a:ext cx="10355636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endParaRPr lang="fr-FR" sz="2400"/>
          </a:p>
          <a:p>
            <a:pPr>
              <a:spcAft>
                <a:spcPts val="600"/>
              </a:spcAft>
            </a:pPr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406193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7E773EB-1EC1-4E49-9DE2-E6F4604972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0391"/>
            <a:ext cx="12192000" cy="1943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5455007-8AF7-4CFF-8B0D-381E697B6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78" y="320675"/>
            <a:ext cx="11407487" cy="1325563"/>
          </a:xfrm>
        </p:spPr>
        <p:txBody>
          <a:bodyPr>
            <a:normAutofit/>
          </a:bodyPr>
          <a:lstStyle/>
          <a:p>
            <a:pPr lvl="0"/>
            <a:r>
              <a:rPr lang="fr-FR" sz="5400" dirty="0"/>
              <a:t>Présentation du CR </a:t>
            </a:r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0C899C7D-CFDA-4D32-B2E9-07B40C3BB1B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91379" y="1976293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63644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8317208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Distinction charges / </a:t>
            </a:r>
            <a:r>
              <a:rPr lang="en-US" dirty="0" err="1"/>
              <a:t>immobilisations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7946888" y="10"/>
            <a:ext cx="4243589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ZoneTexte 13">
            <a:extLst>
              <a:ext uri="{FF2B5EF4-FFF2-40B4-BE49-F238E27FC236}">
                <a16:creationId xmlns:a16="http://schemas.microsoft.com/office/drawing/2014/main" id="{81D349E7-2792-4173-B922-B597DE13B126}"/>
              </a:ext>
            </a:extLst>
          </p:cNvPr>
          <p:cNvSpPr txBox="1"/>
          <p:nvPr/>
        </p:nvSpPr>
        <p:spPr>
          <a:xfrm>
            <a:off x="168086" y="2892537"/>
            <a:ext cx="7585751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2000" b="0" i="0" dirty="0">
                <a:solidFill>
                  <a:srgbClr val="202124"/>
                </a:solidFill>
                <a:effectLst/>
              </a:rPr>
              <a:t>Charges :</a:t>
            </a:r>
          </a:p>
          <a:p>
            <a:pPr algn="l"/>
            <a:r>
              <a:rPr lang="fr-FR" sz="2000" b="0" i="0" dirty="0">
                <a:solidFill>
                  <a:srgbClr val="202124"/>
                </a:solidFill>
                <a:effectLst/>
              </a:rPr>
              <a:t>Par définition, en comptabilité, une </a:t>
            </a:r>
            <a:r>
              <a:rPr lang="fr-FR" sz="2000" b="1" i="0" dirty="0">
                <a:solidFill>
                  <a:srgbClr val="202124"/>
                </a:solidFill>
                <a:effectLst/>
              </a:rPr>
              <a:t>charge</a:t>
            </a:r>
            <a:r>
              <a:rPr lang="fr-FR" sz="2000" b="0" i="0" dirty="0">
                <a:solidFill>
                  <a:srgbClr val="202124"/>
                </a:solidFill>
                <a:effectLst/>
              </a:rPr>
              <a:t> représente un bien ou un service qui </a:t>
            </a:r>
            <a:r>
              <a:rPr lang="fr-FR" sz="2000" b="1" i="0" dirty="0">
                <a:solidFill>
                  <a:srgbClr val="202124"/>
                </a:solidFill>
                <a:effectLst/>
              </a:rPr>
              <a:t>est</a:t>
            </a:r>
            <a:r>
              <a:rPr lang="fr-FR" sz="2000" b="0" i="0" dirty="0">
                <a:solidFill>
                  <a:srgbClr val="202124"/>
                </a:solidFill>
                <a:effectLst/>
              </a:rPr>
              <a:t> consommé par l'entreprise au cours de son activité. Il disparaît généralement lors du premier usage c'</a:t>
            </a:r>
            <a:r>
              <a:rPr lang="fr-FR" sz="2000" b="1" i="0" dirty="0">
                <a:solidFill>
                  <a:srgbClr val="202124"/>
                </a:solidFill>
                <a:effectLst/>
              </a:rPr>
              <a:t>est</a:t>
            </a:r>
            <a:r>
              <a:rPr lang="fr-FR" sz="2000" b="0" i="0" dirty="0">
                <a:solidFill>
                  <a:srgbClr val="202124"/>
                </a:solidFill>
                <a:effectLst/>
              </a:rPr>
              <a:t>-à-dire </a:t>
            </a:r>
            <a:r>
              <a:rPr lang="fr-FR" sz="2000" b="1" i="0" dirty="0">
                <a:solidFill>
                  <a:srgbClr val="202124"/>
                </a:solidFill>
                <a:effectLst/>
              </a:rPr>
              <a:t>qu</a:t>
            </a:r>
            <a:r>
              <a:rPr lang="fr-FR" sz="2000" b="0" i="0" dirty="0">
                <a:solidFill>
                  <a:srgbClr val="202124"/>
                </a:solidFill>
                <a:effectLst/>
              </a:rPr>
              <a:t>'il n'a plus de substance physique dès lors </a:t>
            </a:r>
            <a:r>
              <a:rPr lang="fr-FR" sz="2000" b="1" i="0" dirty="0">
                <a:solidFill>
                  <a:srgbClr val="202124"/>
                </a:solidFill>
                <a:effectLst/>
              </a:rPr>
              <a:t>qu</a:t>
            </a:r>
            <a:r>
              <a:rPr lang="fr-FR" sz="2000" b="0" i="0" dirty="0">
                <a:solidFill>
                  <a:srgbClr val="202124"/>
                </a:solidFill>
                <a:effectLst/>
              </a:rPr>
              <a:t>'il </a:t>
            </a:r>
            <a:r>
              <a:rPr lang="fr-FR" sz="2000" b="1" i="0" dirty="0">
                <a:solidFill>
                  <a:srgbClr val="202124"/>
                </a:solidFill>
                <a:effectLst/>
              </a:rPr>
              <a:t>est</a:t>
            </a:r>
            <a:r>
              <a:rPr lang="fr-FR" sz="2000" b="0" i="0" dirty="0">
                <a:solidFill>
                  <a:srgbClr val="202124"/>
                </a:solidFill>
                <a:effectLst/>
              </a:rPr>
              <a:t> utilisé dans le processus d'exploitation de l'entreprise.</a:t>
            </a:r>
          </a:p>
          <a:p>
            <a:pPr algn="l"/>
            <a:endParaRPr lang="fr-FR" sz="2000" dirty="0">
              <a:solidFill>
                <a:srgbClr val="263C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97449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0CA3A3-8FF3-49D3-89E1-FC074AC57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                      Le bilan simplifié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BA81507D-D90C-4603-85E1-C166467088F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03933360"/>
              </p:ext>
            </p:extLst>
          </p:nvPr>
        </p:nvGraphicFramePr>
        <p:xfrm>
          <a:off x="985422" y="1589103"/>
          <a:ext cx="9143999" cy="4971495"/>
        </p:xfrm>
        <a:graphic>
          <a:graphicData uri="http://schemas.openxmlformats.org/drawingml/2006/table">
            <a:tbl>
              <a:tblPr/>
              <a:tblGrid>
                <a:gridCol w="3544480">
                  <a:extLst>
                    <a:ext uri="{9D8B030D-6E8A-4147-A177-3AD203B41FA5}">
                      <a16:colId xmlns:a16="http://schemas.microsoft.com/office/drawing/2014/main" val="4278073405"/>
                    </a:ext>
                  </a:extLst>
                </a:gridCol>
                <a:gridCol w="1105850">
                  <a:extLst>
                    <a:ext uri="{9D8B030D-6E8A-4147-A177-3AD203B41FA5}">
                      <a16:colId xmlns:a16="http://schemas.microsoft.com/office/drawing/2014/main" val="3041420556"/>
                    </a:ext>
                  </a:extLst>
                </a:gridCol>
                <a:gridCol w="3387819">
                  <a:extLst>
                    <a:ext uri="{9D8B030D-6E8A-4147-A177-3AD203B41FA5}">
                      <a16:colId xmlns:a16="http://schemas.microsoft.com/office/drawing/2014/main" val="4014958537"/>
                    </a:ext>
                  </a:extLst>
                </a:gridCol>
                <a:gridCol w="1105850">
                  <a:extLst>
                    <a:ext uri="{9D8B030D-6E8A-4147-A177-3AD203B41FA5}">
                      <a16:colId xmlns:a16="http://schemas.microsoft.com/office/drawing/2014/main" val="844549852"/>
                    </a:ext>
                  </a:extLst>
                </a:gridCol>
              </a:tblGrid>
              <a:tr h="585969"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ntan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ssif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ntan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738231"/>
                  </a:ext>
                </a:extLst>
              </a:tr>
              <a:tr h="2087310">
                <a:tc>
                  <a:txBody>
                    <a:bodyPr/>
                    <a:lstStyle/>
                    <a:p>
                      <a:pPr algn="just"/>
                      <a:b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 immobilisé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Immobilisations incorporelle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Immobilisations corporelle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Immobilisations financière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) Total actif immobilisé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pitaux propre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Capital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Réserve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Résultat de l'exercice (</a:t>
                      </a: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) Total capitaux propre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3375091"/>
                  </a:ext>
                </a:extLst>
              </a:tr>
              <a:tr h="1878579"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 circulan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Stock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Créances client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Créances sur autres tier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Banque, caisse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actif circulan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tte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Emprunt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Dettes fournisseur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Dettes envers autres tier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dette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6433406"/>
                  </a:ext>
                </a:extLst>
              </a:tr>
              <a:tr h="419637"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général (III) = I + II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général (III) = I + II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2604429"/>
                  </a:ext>
                </a:extLst>
              </a:tr>
            </a:tbl>
          </a:graphicData>
        </a:graphic>
      </p:graphicFrame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CC43CAEA-E3A8-40C9-B212-3DF0AC1D9ABB}"/>
              </a:ext>
            </a:extLst>
          </p:cNvPr>
          <p:cNvCxnSpPr/>
          <p:nvPr/>
        </p:nvCxnSpPr>
        <p:spPr>
          <a:xfrm>
            <a:off x="1115736" y="629174"/>
            <a:ext cx="1476462" cy="11492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C4BC9D37-EDDD-4C03-AE83-FF68509E2E41}"/>
              </a:ext>
            </a:extLst>
          </p:cNvPr>
          <p:cNvCxnSpPr/>
          <p:nvPr/>
        </p:nvCxnSpPr>
        <p:spPr>
          <a:xfrm flipH="1">
            <a:off x="7432646" y="771787"/>
            <a:ext cx="1468073" cy="10066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ZoneTexte 7">
            <a:extLst>
              <a:ext uri="{FF2B5EF4-FFF2-40B4-BE49-F238E27FC236}">
                <a16:creationId xmlns:a16="http://schemas.microsoft.com/office/drawing/2014/main" id="{2B40BEF8-CFB5-4BB8-9553-03C8C868FB07}"/>
              </a:ext>
            </a:extLst>
          </p:cNvPr>
          <p:cNvSpPr txBox="1"/>
          <p:nvPr/>
        </p:nvSpPr>
        <p:spPr>
          <a:xfrm>
            <a:off x="125835" y="209725"/>
            <a:ext cx="26173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’entreprise possède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67736560-5084-45D8-90A3-82DD0F1F50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9335" y="297402"/>
            <a:ext cx="2670279" cy="49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02526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555E439-5E5F-408B-B822-8B5656311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16110"/>
          </a:xfrm>
        </p:spPr>
        <p:txBody>
          <a:bodyPr>
            <a:normAutofit fontScale="90000"/>
          </a:bodyPr>
          <a:lstStyle/>
          <a:p>
            <a:r>
              <a:rPr lang="fr-FR" dirty="0"/>
              <a:t>Le bilan détaillé  =&gt; Bilan fonctionnel 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2BB38C51-ABA6-4C40-90FA-4045E135E70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89860236"/>
              </p:ext>
            </p:extLst>
          </p:nvPr>
        </p:nvGraphicFramePr>
        <p:xfrm>
          <a:off x="2396971" y="1109709"/>
          <a:ext cx="6516209" cy="5092370"/>
        </p:xfrm>
        <a:graphic>
          <a:graphicData uri="http://schemas.openxmlformats.org/drawingml/2006/table">
            <a:tbl>
              <a:tblPr/>
              <a:tblGrid>
                <a:gridCol w="2258320">
                  <a:extLst>
                    <a:ext uri="{9D8B030D-6E8A-4147-A177-3AD203B41FA5}">
                      <a16:colId xmlns:a16="http://schemas.microsoft.com/office/drawing/2014/main" val="1865337202"/>
                    </a:ext>
                  </a:extLst>
                </a:gridCol>
                <a:gridCol w="530314">
                  <a:extLst>
                    <a:ext uri="{9D8B030D-6E8A-4147-A177-3AD203B41FA5}">
                      <a16:colId xmlns:a16="http://schemas.microsoft.com/office/drawing/2014/main" val="2417338429"/>
                    </a:ext>
                  </a:extLst>
                </a:gridCol>
                <a:gridCol w="706445">
                  <a:extLst>
                    <a:ext uri="{9D8B030D-6E8A-4147-A177-3AD203B41FA5}">
                      <a16:colId xmlns:a16="http://schemas.microsoft.com/office/drawing/2014/main" val="2454941421"/>
                    </a:ext>
                  </a:extLst>
                </a:gridCol>
                <a:gridCol w="309351">
                  <a:extLst>
                    <a:ext uri="{9D8B030D-6E8A-4147-A177-3AD203B41FA5}">
                      <a16:colId xmlns:a16="http://schemas.microsoft.com/office/drawing/2014/main" val="558990674"/>
                    </a:ext>
                  </a:extLst>
                </a:gridCol>
                <a:gridCol w="2209645">
                  <a:extLst>
                    <a:ext uri="{9D8B030D-6E8A-4147-A177-3AD203B41FA5}">
                      <a16:colId xmlns:a16="http://schemas.microsoft.com/office/drawing/2014/main" val="2156062384"/>
                    </a:ext>
                  </a:extLst>
                </a:gridCol>
                <a:gridCol w="502134">
                  <a:extLst>
                    <a:ext uri="{9D8B030D-6E8A-4147-A177-3AD203B41FA5}">
                      <a16:colId xmlns:a16="http://schemas.microsoft.com/office/drawing/2014/main" val="3042989144"/>
                    </a:ext>
                  </a:extLst>
                </a:gridCol>
              </a:tblGrid>
              <a:tr h="169506">
                <a:tc>
                  <a:txBody>
                    <a:bodyPr/>
                    <a:lstStyle/>
                    <a:p>
                      <a:pPr algn="ctr"/>
                      <a:r>
                        <a:rPr lang="fr-FR" sz="5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5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ercice N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5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ssif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5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9366265"/>
                  </a:ext>
                </a:extLst>
              </a:tr>
              <a:tr h="368874">
                <a:tc>
                  <a:txBody>
                    <a:bodyPr/>
                    <a:lstStyle/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-</a:t>
                      </a:r>
                      <a:b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ments et</a:t>
                      </a:r>
                      <a:b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préciations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1287255"/>
                  </a:ext>
                </a:extLst>
              </a:tr>
              <a:tr h="1327948">
                <a:tc rowSpan="3">
                  <a:txBody>
                    <a:bodyPr/>
                    <a:lstStyle/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 immobilisé (classe 2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incorporelles :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is d'établissement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is de recherche/développement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is de concessions, brevets, licence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Fonds commercial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corporelles :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rrain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struction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stallations Techniques, Matériel et Outillage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dustriel (I.T.M.O.I) 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immobilisations corporelle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financières :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rticipation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tres immobilisés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tres immobilisés de l'activité de portefeuille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êt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pôts et cautionnements versé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3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5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7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1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3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5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8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1/272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3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4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5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1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3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5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07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11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3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5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8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6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7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5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pitaux propres (classe 1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pital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te de l'exploitant   (</a:t>
                      </a:r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éserves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port à  Nouveau  (11) (</a:t>
                      </a:r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ésultat de l'exercice  (12) (</a:t>
                      </a:r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bventions d'investissement (13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visions réglementées (14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14	X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1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6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8208358"/>
                  </a:ext>
                </a:extLst>
              </a:tr>
              <a:tr h="28675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) Total capitaux propres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fr-FR" sz="400" i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6088507"/>
                  </a:ext>
                </a:extLst>
              </a:tr>
              <a:tr h="326189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fr-FR" sz="400" i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visions pour risques et charges (PRC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fr-FR" sz="400" i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15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8214978"/>
                  </a:ext>
                </a:extLst>
              </a:tr>
              <a:tr h="137450">
                <a:tc>
                  <a:txBody>
                    <a:bodyPr/>
                    <a:lstStyle/>
                    <a:p>
                      <a:pPr algn="ctr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) Total actif immobilisé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PRC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435638"/>
                  </a:ext>
                </a:extLst>
              </a:tr>
              <a:tr h="2045293">
                <a:tc>
                  <a:txBody>
                    <a:bodyPr/>
                    <a:lstStyle/>
                    <a:p>
                      <a:pPr algn="l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 circulant (classes 3, 4, 5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ocks et en-cour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Matières 1</a:t>
                      </a:r>
                      <a:r>
                        <a:rPr lang="fr-FR" sz="400" baseline="30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ères</a:t>
                      </a:r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et autres approvisionnements	31 / 32	391 / 392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En-cours de production de Biens et Services	33 / 34	393 / 394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Produits intermédiaires et finis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Marchandises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ances et acomptes versés sur commande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éances clients et comptes rattaché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créances</a:t>
                      </a:r>
                      <a:r>
                        <a:rPr lang="fr-FR" sz="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mptes 42, 43, 44, 45, 46 à  solde débiteur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aleurs mobilières de placement (V.M.P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sponibilités (banque, caisse)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asse 3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91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/53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1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5/496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ttes (classes 1, 4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obligataire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8890"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et dettes auprès des  établissements de crédit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 créditrice (découvert)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vances et acomptes reçus sur commande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et comptes rattaché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d'immobilisations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iscales et sociales 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mptes 42, 43, 44, 45 à solde créditeur)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dettes 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1/163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4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9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91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7803908"/>
                  </a:ext>
                </a:extLst>
              </a:tr>
              <a:tr h="215177">
                <a:tc>
                  <a:txBody>
                    <a:bodyPr/>
                    <a:lstStyle/>
                    <a:p>
                      <a:pPr algn="ctr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actif circulant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I) Total dettes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0632282"/>
                  </a:ext>
                </a:extLst>
              </a:tr>
              <a:tr h="215177">
                <a:tc>
                  <a:txBody>
                    <a:bodyPr/>
                    <a:lstStyle/>
                    <a:p>
                      <a:pPr algn="ctr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I) Total général = I + II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4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V) Total général = I + II + III</a:t>
                      </a:r>
                      <a:endParaRPr lang="fr-FR" sz="5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5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6570" marR="26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1074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146167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4FF09D10-F213-4F96-8023-14F56788AA8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84887039"/>
              </p:ext>
            </p:extLst>
          </p:nvPr>
        </p:nvGraphicFramePr>
        <p:xfrm>
          <a:off x="1411550" y="248575"/>
          <a:ext cx="9925235" cy="6383045"/>
        </p:xfrm>
        <a:graphic>
          <a:graphicData uri="http://schemas.openxmlformats.org/drawingml/2006/table">
            <a:tbl>
              <a:tblPr/>
              <a:tblGrid>
                <a:gridCol w="3439786">
                  <a:extLst>
                    <a:ext uri="{9D8B030D-6E8A-4147-A177-3AD203B41FA5}">
                      <a16:colId xmlns:a16="http://schemas.microsoft.com/office/drawing/2014/main" val="3497311258"/>
                    </a:ext>
                  </a:extLst>
                </a:gridCol>
                <a:gridCol w="807756">
                  <a:extLst>
                    <a:ext uri="{9D8B030D-6E8A-4147-A177-3AD203B41FA5}">
                      <a16:colId xmlns:a16="http://schemas.microsoft.com/office/drawing/2014/main" val="3297429678"/>
                    </a:ext>
                  </a:extLst>
                </a:gridCol>
                <a:gridCol w="1076030">
                  <a:extLst>
                    <a:ext uri="{9D8B030D-6E8A-4147-A177-3AD203B41FA5}">
                      <a16:colId xmlns:a16="http://schemas.microsoft.com/office/drawing/2014/main" val="1319687730"/>
                    </a:ext>
                  </a:extLst>
                </a:gridCol>
                <a:gridCol w="471192">
                  <a:extLst>
                    <a:ext uri="{9D8B030D-6E8A-4147-A177-3AD203B41FA5}">
                      <a16:colId xmlns:a16="http://schemas.microsoft.com/office/drawing/2014/main" val="1157618146"/>
                    </a:ext>
                  </a:extLst>
                </a:gridCol>
                <a:gridCol w="3365642">
                  <a:extLst>
                    <a:ext uri="{9D8B030D-6E8A-4147-A177-3AD203B41FA5}">
                      <a16:colId xmlns:a16="http://schemas.microsoft.com/office/drawing/2014/main" val="433851863"/>
                    </a:ext>
                  </a:extLst>
                </a:gridCol>
                <a:gridCol w="764829">
                  <a:extLst>
                    <a:ext uri="{9D8B030D-6E8A-4147-A177-3AD203B41FA5}">
                      <a16:colId xmlns:a16="http://schemas.microsoft.com/office/drawing/2014/main" val="3036566503"/>
                    </a:ext>
                  </a:extLst>
                </a:gridCol>
              </a:tblGrid>
              <a:tr h="414234"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ercice N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ssif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041757"/>
                  </a:ext>
                </a:extLst>
              </a:tr>
              <a:tr h="901440"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-</a:t>
                      </a:r>
                      <a:b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ments et</a:t>
                      </a:r>
                      <a:b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préciation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4799972"/>
                  </a:ext>
                </a:extLst>
              </a:tr>
              <a:tr h="3245179">
                <a:tc rowSpan="3">
                  <a:txBody>
                    <a:bodyPr/>
                    <a:lstStyle/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 immobilisé (classe 2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incorporelles :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is d'établissement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is de recherche/développement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is de concessions, brevets, licence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Fonds commercial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corporelles :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rrain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struction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stallations Techniques, Matériel et Outillage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dustriel (I.T.M.O.I) 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immobilisations corporelle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mobilisations financières :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rticipation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tres immobilisé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tres immobilisés de l'activité de portefeuille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êt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pôts et cautionnements versés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3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5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7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1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3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5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8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1/272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3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4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5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3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5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07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1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3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5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8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6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7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just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pitaux propres (classe 1)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pital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te de l'exploitant   (</a:t>
                      </a: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éserve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port à  Nouveau  (11) (</a:t>
                      </a: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ésultat de l'exercice  (12) (</a:t>
                      </a: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bventions d'investissement (13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visions réglementées (14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14	X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6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 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7529744"/>
                  </a:ext>
                </a:extLst>
              </a:tr>
              <a:tr h="70076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) Total capitaux propres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fr-FR" sz="700" i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6672517"/>
                  </a:ext>
                </a:extLst>
              </a:tr>
              <a:tr h="785539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fr-FR" sz="700" i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visions pour risques et charges (PRC)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fr-FR" sz="700" i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15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940559"/>
                  </a:ext>
                </a:extLst>
              </a:tr>
              <a:tr h="335893"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) Total actif immobilisé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PRC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70337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748951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4FF09D10-F213-4F96-8023-14F56788AA8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2038638"/>
              </p:ext>
            </p:extLst>
          </p:nvPr>
        </p:nvGraphicFramePr>
        <p:xfrm>
          <a:off x="435006" y="142043"/>
          <a:ext cx="10946169" cy="6489576"/>
        </p:xfrm>
        <a:graphic>
          <a:graphicData uri="http://schemas.openxmlformats.org/drawingml/2006/table">
            <a:tbl>
              <a:tblPr/>
              <a:tblGrid>
                <a:gridCol w="3793611">
                  <a:extLst>
                    <a:ext uri="{9D8B030D-6E8A-4147-A177-3AD203B41FA5}">
                      <a16:colId xmlns:a16="http://schemas.microsoft.com/office/drawing/2014/main" val="3497311258"/>
                    </a:ext>
                  </a:extLst>
                </a:gridCol>
                <a:gridCol w="890843">
                  <a:extLst>
                    <a:ext uri="{9D8B030D-6E8A-4147-A177-3AD203B41FA5}">
                      <a16:colId xmlns:a16="http://schemas.microsoft.com/office/drawing/2014/main" val="3297429678"/>
                    </a:ext>
                  </a:extLst>
                </a:gridCol>
                <a:gridCol w="1186713">
                  <a:extLst>
                    <a:ext uri="{9D8B030D-6E8A-4147-A177-3AD203B41FA5}">
                      <a16:colId xmlns:a16="http://schemas.microsoft.com/office/drawing/2014/main" val="1319687730"/>
                    </a:ext>
                  </a:extLst>
                </a:gridCol>
                <a:gridCol w="519660">
                  <a:extLst>
                    <a:ext uri="{9D8B030D-6E8A-4147-A177-3AD203B41FA5}">
                      <a16:colId xmlns:a16="http://schemas.microsoft.com/office/drawing/2014/main" val="1157618146"/>
                    </a:ext>
                  </a:extLst>
                </a:gridCol>
                <a:gridCol w="3711840">
                  <a:extLst>
                    <a:ext uri="{9D8B030D-6E8A-4147-A177-3AD203B41FA5}">
                      <a16:colId xmlns:a16="http://schemas.microsoft.com/office/drawing/2014/main" val="433851863"/>
                    </a:ext>
                  </a:extLst>
                </a:gridCol>
                <a:gridCol w="843502">
                  <a:extLst>
                    <a:ext uri="{9D8B030D-6E8A-4147-A177-3AD203B41FA5}">
                      <a16:colId xmlns:a16="http://schemas.microsoft.com/office/drawing/2014/main" val="3036566503"/>
                    </a:ext>
                  </a:extLst>
                </a:gridCol>
              </a:tblGrid>
              <a:tr h="421147"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ercice N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ssif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041757"/>
                  </a:ext>
                </a:extLst>
              </a:tr>
              <a:tr h="916484"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ortisse-</a:t>
                      </a:r>
                      <a:b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ments et</a:t>
                      </a:r>
                      <a:b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épréciations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4799972"/>
                  </a:ext>
                </a:extLst>
              </a:tr>
              <a:tr h="3299341">
                <a:tc>
                  <a:txBody>
                    <a:bodyPr/>
                    <a:lstStyle/>
                    <a:p>
                      <a:pPr algn="l"/>
                      <a:r>
                        <a:rPr lang="fr-FR" sz="7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f circulant (classes 3, 4, 5)</a:t>
                      </a:r>
                      <a:endParaRPr lang="fr-FR" sz="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ocks et en-cours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Matières 1</a:t>
                      </a:r>
                      <a:r>
                        <a:rPr lang="fr-FR" sz="700" baseline="30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ères</a:t>
                      </a:r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et autres approvisionnements	31 / 32	391 / 392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En-cours de production de Biens et Services	33 / 34	393 / 394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Produits intermédiaires et fini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Marchandise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ances et acomptes versés sur commandes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éances clients et comptes rattachés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créances</a:t>
                      </a:r>
                      <a:r>
                        <a:rPr lang="fr-FR" sz="7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mptes 42, 43, 44, 45, 46 à  solde débiteur)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aleurs mobilières de placement (V.M.P)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sponibilités (banque, caisse)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asse 3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9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/53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95/496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ttes (classes 1, 4)</a:t>
                      </a:r>
                      <a:endParaRPr lang="fr-FR" sz="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obligataires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8890"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runts et dettes auprès des  établissements de crédit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 créditrice (découvert)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vances et acomptes reçus sur commandes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45720" indent="-45720"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et comptes rattachés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ournisseurs d'immobilisations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ttes fiscales et sociales 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omptes 42, 43, 44, 45 à solde créditeur)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utres dettes 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1/163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4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9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9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7529744"/>
                  </a:ext>
                </a:extLst>
              </a:tr>
              <a:tr h="712456"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actif circulant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I) Total dettes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6672517"/>
                  </a:ext>
                </a:extLst>
              </a:tr>
              <a:tr h="798650"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I) Total général = I + II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V) Total général = I + II + III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940559"/>
                  </a:ext>
                </a:extLst>
              </a:tr>
              <a:tr h="341498"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) Total actif immobilisé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) Total PRC</a:t>
                      </a:r>
                      <a:endParaRPr lang="fr-FR" sz="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7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9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70337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80985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10128089" cy="1947830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 err="1"/>
              <a:t>L’actif</a:t>
            </a:r>
            <a:r>
              <a:rPr lang="en-US" dirty="0"/>
              <a:t> – </a:t>
            </a:r>
            <a:r>
              <a:rPr lang="en-US" dirty="0" err="1"/>
              <a:t>ce</a:t>
            </a:r>
            <a:r>
              <a:rPr lang="en-US" dirty="0"/>
              <a:t> que </a:t>
            </a:r>
            <a:r>
              <a:rPr lang="en-US" dirty="0" err="1"/>
              <a:t>l’entreprise</a:t>
            </a:r>
            <a:r>
              <a:rPr lang="en-US" dirty="0"/>
              <a:t> </a:t>
            </a:r>
            <a:r>
              <a:rPr lang="en-US" dirty="0" err="1"/>
              <a:t>posséde</a:t>
            </a:r>
            <a:br>
              <a:rPr lang="en-US" sz="4600" dirty="0"/>
            </a:b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8313490" y="10"/>
            <a:ext cx="3876987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00000"/>
                </a:solidFill>
              </a:rPr>
              <a:t>Il concerne principalement les comptes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00000"/>
                </a:solidFill>
              </a:rPr>
              <a:t>De classe 2 = &gt; les immobilisations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00000"/>
                </a:solidFill>
              </a:rPr>
              <a:t>De classe 3 = &gt; les stocks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00000"/>
                </a:solidFill>
              </a:rPr>
              <a:t>De classe 4 =&gt; créances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00000"/>
                </a:solidFill>
              </a:rPr>
              <a:t>De classe 5 =&gt; la trésorerie</a:t>
            </a: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641368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503" y="291397"/>
            <a:ext cx="8948458" cy="1947830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dirty="0"/>
              <a:t>Le </a:t>
            </a:r>
            <a:r>
              <a:rPr lang="en-US" dirty="0" err="1"/>
              <a:t>passif</a:t>
            </a:r>
            <a:r>
              <a:rPr lang="en-US" dirty="0"/>
              <a:t> – </a:t>
            </a:r>
            <a:r>
              <a:rPr lang="en-US" dirty="0" err="1"/>
              <a:t>ce</a:t>
            </a:r>
            <a:r>
              <a:rPr lang="en-US" dirty="0"/>
              <a:t> que </a:t>
            </a:r>
            <a:r>
              <a:rPr lang="en-US" dirty="0" err="1"/>
              <a:t>l’entreprise</a:t>
            </a:r>
            <a:r>
              <a:rPr lang="en-US" dirty="0"/>
              <a:t> doit</a:t>
            </a:r>
            <a:br>
              <a:rPr lang="en-US" sz="4600" dirty="0"/>
            </a:b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8905875" y="10"/>
            <a:ext cx="3284602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00000"/>
                </a:solidFill>
              </a:rPr>
              <a:t>Il concerne principalement les comptes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00000"/>
                </a:solidFill>
              </a:rPr>
              <a:t>De classe 1 = &gt; capitaux propres, provisions et dettes à long terme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00000"/>
                </a:solidFill>
              </a:rPr>
              <a:t>De classe 4 =&gt; les dettes</a:t>
            </a: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751801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56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Merci</a:t>
            </a:r>
          </a:p>
        </p:txBody>
      </p:sp>
      <p:sp>
        <p:nvSpPr>
          <p:cNvPr id="90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5579" r="5579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5313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8317208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Distinction charges / </a:t>
            </a:r>
            <a:r>
              <a:rPr lang="en-US" dirty="0" err="1"/>
              <a:t>immobilisations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7946888" y="10"/>
            <a:ext cx="4243589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ZoneTexte 13">
            <a:extLst>
              <a:ext uri="{FF2B5EF4-FFF2-40B4-BE49-F238E27FC236}">
                <a16:creationId xmlns:a16="http://schemas.microsoft.com/office/drawing/2014/main" id="{81D349E7-2792-4173-B922-B597DE13B126}"/>
              </a:ext>
            </a:extLst>
          </p:cNvPr>
          <p:cNvSpPr txBox="1"/>
          <p:nvPr/>
        </p:nvSpPr>
        <p:spPr>
          <a:xfrm>
            <a:off x="168086" y="2892537"/>
            <a:ext cx="7709176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2000" b="0" i="0" dirty="0">
                <a:solidFill>
                  <a:srgbClr val="263C46"/>
                </a:solidFill>
                <a:effectLst/>
              </a:rPr>
              <a:t>Sont à immobiliser les dépenses (</a:t>
            </a:r>
            <a:r>
              <a:rPr lang="fr-FR" sz="2000" b="0" i="0" u="sng" dirty="0">
                <a:solidFill>
                  <a:srgbClr val="71C661"/>
                </a:solidFill>
                <a:effectLst/>
                <a:hlinkClick r:id="rId6"/>
              </a:rPr>
              <a:t>BOFiP-BIC-CHG-20-20-20-12/09/2012</a:t>
            </a:r>
            <a:r>
              <a:rPr lang="fr-FR" sz="2000" b="0" i="0" dirty="0">
                <a:solidFill>
                  <a:srgbClr val="263C46"/>
                </a:solidFill>
                <a:effectLst/>
              </a:rPr>
              <a:t>) :</a:t>
            </a:r>
          </a:p>
          <a:p>
            <a:pPr algn="l"/>
            <a:r>
              <a:rPr lang="fr-FR" sz="2000" b="0" i="0" dirty="0">
                <a:solidFill>
                  <a:srgbClr val="263C46"/>
                </a:solidFill>
                <a:effectLst/>
              </a:rPr>
              <a:t>-qui ont pour contrepartie l’acquisition d’éléments destinés à servir de façon durable à l’activité de l’entreprise ;</a:t>
            </a:r>
          </a:p>
          <a:p>
            <a:pPr algn="l"/>
            <a:r>
              <a:rPr lang="fr-FR" sz="2000" b="0" i="0" dirty="0">
                <a:solidFill>
                  <a:srgbClr val="263C46"/>
                </a:solidFill>
                <a:effectLst/>
              </a:rPr>
              <a:t>-ou qui entraînent une augmentation de la valeur d’un élément d’actif immobilisé ;</a:t>
            </a:r>
          </a:p>
          <a:p>
            <a:pPr algn="l"/>
            <a:r>
              <a:rPr lang="fr-FR" sz="2000" b="0" i="0" dirty="0">
                <a:solidFill>
                  <a:srgbClr val="263C46"/>
                </a:solidFill>
                <a:effectLst/>
              </a:rPr>
              <a:t>-ou qui prolongent de manière notable la durée probable d’utilisation d’un élément d’actif immobilisé.</a:t>
            </a:r>
          </a:p>
          <a:p>
            <a:pPr algn="l"/>
            <a:r>
              <a:rPr lang="fr-FR" sz="2000" b="0" i="0" dirty="0">
                <a:solidFill>
                  <a:srgbClr val="263C46"/>
                </a:solidFill>
                <a:effectLst/>
              </a:rPr>
              <a:t>Les travaux d’entretien et de réparation qui aboutissent au remplacement d’un composant doivent être immobilisés).</a:t>
            </a:r>
          </a:p>
          <a:p>
            <a:pPr algn="l"/>
            <a:endParaRPr lang="fr-FR" sz="2000" dirty="0">
              <a:solidFill>
                <a:srgbClr val="263C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7880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8317208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Distinction charges / </a:t>
            </a:r>
            <a:r>
              <a:rPr lang="en-US" dirty="0" err="1"/>
              <a:t>immobilisations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7946888" y="10"/>
            <a:ext cx="4243589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ZoneTexte 13">
            <a:extLst>
              <a:ext uri="{FF2B5EF4-FFF2-40B4-BE49-F238E27FC236}">
                <a16:creationId xmlns:a16="http://schemas.microsoft.com/office/drawing/2014/main" id="{81D349E7-2792-4173-B922-B597DE13B126}"/>
              </a:ext>
            </a:extLst>
          </p:cNvPr>
          <p:cNvSpPr txBox="1"/>
          <p:nvPr/>
        </p:nvSpPr>
        <p:spPr>
          <a:xfrm>
            <a:off x="168086" y="2892537"/>
            <a:ext cx="758575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2000" b="0" i="0" dirty="0">
                <a:solidFill>
                  <a:srgbClr val="263C46"/>
                </a:solidFill>
                <a:effectLst/>
              </a:rPr>
              <a:t>Sur le plan comptable, les éléments d’actif non significatifs peuvent ne pas être inscrits au bilan et sont comptabilisés en charges de l’exercice (PCG art. 212-6).</a:t>
            </a:r>
          </a:p>
          <a:p>
            <a:pPr algn="just"/>
            <a:endParaRPr lang="fr-FR" sz="2000" b="0" i="0" dirty="0">
              <a:solidFill>
                <a:srgbClr val="263C46"/>
              </a:solidFill>
              <a:effectLst/>
            </a:endParaRPr>
          </a:p>
          <a:p>
            <a:pPr algn="just"/>
            <a:r>
              <a:rPr lang="fr-FR" sz="2000" b="0" i="0" dirty="0">
                <a:solidFill>
                  <a:srgbClr val="263C46"/>
                </a:solidFill>
                <a:effectLst/>
              </a:rPr>
              <a:t>Sur le plan fiscal, les dépenses d’acquisition de petits matériels et d’outillages, de matériels et mobiliers de bureau et de logiciels dont la valeur unitaire hors taxes n’excède pas 500 € peuvent être déduites immédiatement en charges (</a:t>
            </a:r>
            <a:r>
              <a:rPr lang="fr-FR" sz="2000" b="0" i="0" u="sng" dirty="0">
                <a:solidFill>
                  <a:srgbClr val="71C661"/>
                </a:solidFill>
                <a:effectLst/>
                <a:hlinkClick r:id="rId6"/>
              </a:rPr>
              <a:t>BOFiP-BIC-CHG-20-10-10-§ 60-13/10/2014</a:t>
            </a:r>
            <a:r>
              <a:rPr lang="fr-FR" sz="2000" b="0" i="0" dirty="0">
                <a:solidFill>
                  <a:srgbClr val="263C46"/>
                </a:solidFill>
                <a:effectLst/>
              </a:rPr>
              <a:t> et BOFiP-BIC-CHG-20-30-10-§ 20-01/03/2017). </a:t>
            </a:r>
            <a:endParaRPr lang="fr-FR" dirty="0">
              <a:effectLst/>
              <a:highlight>
                <a:srgbClr val="FFFF00"/>
              </a:highlight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0688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8317208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Distinction charges / </a:t>
            </a:r>
            <a:r>
              <a:rPr lang="en-US" dirty="0" err="1"/>
              <a:t>immobilisations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7946888" y="10"/>
            <a:ext cx="4243589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ZoneTexte 13">
            <a:extLst>
              <a:ext uri="{FF2B5EF4-FFF2-40B4-BE49-F238E27FC236}">
                <a16:creationId xmlns:a16="http://schemas.microsoft.com/office/drawing/2014/main" id="{81D349E7-2792-4173-B922-B597DE13B126}"/>
              </a:ext>
            </a:extLst>
          </p:cNvPr>
          <p:cNvSpPr txBox="1"/>
          <p:nvPr/>
        </p:nvSpPr>
        <p:spPr>
          <a:xfrm>
            <a:off x="253232" y="2764609"/>
            <a:ext cx="7585751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2000" b="0" i="0" dirty="0">
                <a:solidFill>
                  <a:srgbClr val="263C46"/>
                </a:solidFill>
                <a:effectLst/>
              </a:rPr>
              <a:t>Aucune définition fiscale. A défaut, il convient, conformément aux dispositions de l’article 38 quater de l’annexe III du CGI, de se référer aux définitions édictées par le Plan comptable général (PCG).</a:t>
            </a:r>
          </a:p>
          <a:p>
            <a:pPr algn="l"/>
            <a:r>
              <a:rPr lang="fr-FR" sz="2000" dirty="0">
                <a:solidFill>
                  <a:srgbClr val="263C46"/>
                </a:solidFill>
              </a:rPr>
              <a:t>+</a:t>
            </a:r>
          </a:p>
          <a:p>
            <a:pPr algn="l"/>
            <a:r>
              <a:rPr lang="fr-FR" sz="2000" b="0" i="0" dirty="0">
                <a:solidFill>
                  <a:srgbClr val="263C46"/>
                </a:solidFill>
                <a:effectLst/>
              </a:rPr>
              <a:t>Les éléments destinés à servir de façon durable à l’activité de l’entreprise constituent l’actif immobilisé (c. com. </a:t>
            </a:r>
            <a:r>
              <a:rPr lang="fr-FR" sz="2000" b="0" i="0" u="sng" dirty="0">
                <a:solidFill>
                  <a:srgbClr val="71C661"/>
                </a:solidFill>
                <a:effectLst/>
                <a:hlinkClick r:id="rId6"/>
              </a:rPr>
              <a:t>art. R. 123-181</a:t>
            </a:r>
            <a:r>
              <a:rPr lang="fr-FR" sz="2000" b="0" i="0" dirty="0">
                <a:solidFill>
                  <a:srgbClr val="263C46"/>
                </a:solidFill>
                <a:effectLst/>
              </a:rPr>
              <a:t>).</a:t>
            </a:r>
          </a:p>
          <a:p>
            <a:pPr marL="266700" algn="just"/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3640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07" y="334971"/>
            <a:ext cx="8317208" cy="1947239"/>
          </a:xfrm>
          <a:prstGeom prst="ellipse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4800" dirty="0"/>
            </a:br>
            <a:r>
              <a:rPr lang="en-US" dirty="0"/>
              <a:t>Distinction charges / </a:t>
            </a:r>
            <a:r>
              <a:rPr lang="en-US" dirty="0" err="1"/>
              <a:t>immobilisations</a:t>
            </a:r>
            <a:endParaRPr lang="en-US" sz="4600" dirty="0"/>
          </a:p>
        </p:txBody>
      </p:sp>
      <p:sp>
        <p:nvSpPr>
          <p:cNvPr id="8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640080" y="2872899"/>
            <a:ext cx="4243589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0828" r="22745" b="1"/>
          <a:stretch/>
        </p:blipFill>
        <p:spPr>
          <a:xfrm>
            <a:off x="7946888" y="10"/>
            <a:ext cx="4243589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ZoneTexte 13">
            <a:extLst>
              <a:ext uri="{FF2B5EF4-FFF2-40B4-BE49-F238E27FC236}">
                <a16:creationId xmlns:a16="http://schemas.microsoft.com/office/drawing/2014/main" id="{81D349E7-2792-4173-B922-B597DE13B126}"/>
              </a:ext>
            </a:extLst>
          </p:cNvPr>
          <p:cNvSpPr txBox="1"/>
          <p:nvPr/>
        </p:nvSpPr>
        <p:spPr>
          <a:xfrm>
            <a:off x="253232" y="2764609"/>
            <a:ext cx="7585751" cy="40626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2400" b="0" i="0" dirty="0">
                <a:solidFill>
                  <a:srgbClr val="71C661"/>
                </a:solidFill>
                <a:effectLst/>
                <a:latin typeface="Open Sans"/>
              </a:rPr>
              <a:t>Critères comptables : </a:t>
            </a:r>
            <a:r>
              <a:rPr lang="fr-FR" sz="2400" b="0" dirty="0">
                <a:effectLst/>
                <a:latin typeface="Open Sans"/>
              </a:rPr>
              <a:t>Quatre critères cumulatifs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Un actif doit être constaté lorsque les quatre conditions suivantes sont simultanément réunies (PCG art. 211-1 à 211-4) :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- l’actif est identifiable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- il a une valeur économique positive, traduite par les avantages économiques futurs attendus par l’entreprise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- il est contrôlé par l’entreprise</a:t>
            </a:r>
          </a:p>
          <a:p>
            <a:r>
              <a:rPr lang="fr-FR" sz="2400" b="0" dirty="0">
                <a:solidFill>
                  <a:srgbClr val="263C46"/>
                </a:solidFill>
                <a:effectLst/>
                <a:latin typeface="Open Sans"/>
              </a:rPr>
              <a:t>- il peut être évalué avec une fiabilité suffisante</a:t>
            </a:r>
          </a:p>
          <a:p>
            <a:pPr marL="266700" algn="just"/>
            <a:endParaRPr lang="fr-FR" dirty="0">
              <a:effectLst/>
              <a:highlight>
                <a:srgbClr val="FFFF00"/>
              </a:highlight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441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20</TotalTime>
  <Words>3628</Words>
  <Application>Microsoft Office PowerPoint</Application>
  <PresentationFormat>Grand écran</PresentationFormat>
  <Paragraphs>1059</Paragraphs>
  <Slides>56</Slides>
  <Notes>39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56</vt:i4>
      </vt:variant>
    </vt:vector>
  </HeadingPairs>
  <TitlesOfParts>
    <vt:vector size="65" baseType="lpstr">
      <vt:lpstr>Arial</vt:lpstr>
      <vt:lpstr>Calibri</vt:lpstr>
      <vt:lpstr>Calibri Light</vt:lpstr>
      <vt:lpstr>Open Sans</vt:lpstr>
      <vt:lpstr>Symbol</vt:lpstr>
      <vt:lpstr>Times New Roman</vt:lpstr>
      <vt:lpstr>Verdana</vt:lpstr>
      <vt:lpstr>Thème Office</vt:lpstr>
      <vt:lpstr>1_Thème Office</vt:lpstr>
      <vt:lpstr>Université de Montpellier </vt:lpstr>
      <vt:lpstr>Programme prévisionnel</vt:lpstr>
      <vt:lpstr>Rechercher dans le PCG – utilisez la liste abrégée (6/7)</vt:lpstr>
      <vt:lpstr> La classification du PCG</vt:lpstr>
      <vt:lpstr> Distinction charges / immobilisations</vt:lpstr>
      <vt:lpstr> Distinction charges / immobilisations</vt:lpstr>
      <vt:lpstr> Distinction charges / immobilisations</vt:lpstr>
      <vt:lpstr> Distinction charges / immobilisations</vt:lpstr>
      <vt:lpstr> Distinction charges / immobilisations</vt:lpstr>
      <vt:lpstr> Distinction charges / immobilisations</vt:lpstr>
      <vt:lpstr>Le compte de résultat</vt:lpstr>
      <vt:lpstr>Présentation du CR </vt:lpstr>
      <vt:lpstr>Présentation en tableau =&gt; SIG ?</vt:lpstr>
      <vt:lpstr>Présentation PowerPoint</vt:lpstr>
      <vt:lpstr>Présentation PowerPoint</vt:lpstr>
      <vt:lpstr>Présentation PowerPoint</vt:lpstr>
      <vt:lpstr>Les Soldes intermédiaires de gestion</vt:lpstr>
      <vt:lpstr>Présentation PowerPoint</vt:lpstr>
      <vt:lpstr>Le compte de résultat en détail</vt:lpstr>
      <vt:lpstr> Les charges </vt:lpstr>
      <vt:lpstr> Les charges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 Les produits </vt:lpstr>
      <vt:lpstr>Présentation PowerPoint</vt:lpstr>
      <vt:lpstr>Présentation PowerPoint</vt:lpstr>
      <vt:lpstr>Présentation PowerPoint</vt:lpstr>
      <vt:lpstr>Production immobilisee = principe</vt:lpstr>
      <vt:lpstr>Production immobilisee = principe / impact</vt:lpstr>
      <vt:lpstr>Présentation PowerPoint</vt:lpstr>
      <vt:lpstr>Présentation PowerPoint</vt:lpstr>
      <vt:lpstr>Focus sur transferts de charges</vt:lpstr>
      <vt:lpstr>Focus sur Plus value</vt:lpstr>
      <vt:lpstr>Rechercher dans le PCG (liste abrégée)</vt:lpstr>
      <vt:lpstr>Présentation PowerPoint</vt:lpstr>
      <vt:lpstr>Merci</vt:lpstr>
      <vt:lpstr>Le bilan</vt:lpstr>
      <vt:lpstr>Présentation du CR </vt:lpstr>
      <vt:lpstr>                      Le bilan simplifié</vt:lpstr>
      <vt:lpstr>Le bilan détaillé  =&gt; Bilan fonctionnel </vt:lpstr>
      <vt:lpstr>Présentation PowerPoint</vt:lpstr>
      <vt:lpstr>Présentation PowerPoint</vt:lpstr>
      <vt:lpstr> L’actif – ce que l’entreprise posséde </vt:lpstr>
      <vt:lpstr>Le passif – ce que l’entreprise doit </vt:lpstr>
      <vt:lpstr>Mer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on Février 2021 ATHENA SECURITE</dc:title>
  <dc:creator>christophe CHUECOS-FONT</dc:creator>
  <cp:lastModifiedBy>christophe CHUECOS-FONT</cp:lastModifiedBy>
  <cp:revision>2</cp:revision>
  <dcterms:created xsi:type="dcterms:W3CDTF">2021-02-02T18:32:53Z</dcterms:created>
  <dcterms:modified xsi:type="dcterms:W3CDTF">2021-03-12T12:43:12Z</dcterms:modified>
</cp:coreProperties>
</file>